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375" r:id="rId5"/>
    <p:sldMasterId id="2147484383" r:id="rId6"/>
    <p:sldMasterId id="2147484390" r:id="rId7"/>
    <p:sldMasterId id="2147484404" r:id="rId8"/>
    <p:sldMasterId id="2147484417" r:id="rId9"/>
  </p:sldMasterIdLst>
  <p:notesMasterIdLst>
    <p:notesMasterId r:id="rId24"/>
  </p:notesMasterIdLst>
  <p:handoutMasterIdLst>
    <p:handoutMasterId r:id="rId25"/>
  </p:handoutMasterIdLst>
  <p:sldIdLst>
    <p:sldId id="1553" r:id="rId10"/>
    <p:sldId id="1505" r:id="rId11"/>
    <p:sldId id="1554" r:id="rId12"/>
    <p:sldId id="1555" r:id="rId13"/>
    <p:sldId id="1556" r:id="rId14"/>
    <p:sldId id="1514" r:id="rId15"/>
    <p:sldId id="1546" r:id="rId16"/>
    <p:sldId id="1547" r:id="rId17"/>
    <p:sldId id="1515" r:id="rId18"/>
    <p:sldId id="1537" r:id="rId19"/>
    <p:sldId id="1552" r:id="rId20"/>
    <p:sldId id="1542" r:id="rId21"/>
    <p:sldId id="1549" r:id="rId22"/>
    <p:sldId id="1502" r:id="rId2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002864"/>
    <a:srgbClr val="002050"/>
    <a:srgbClr val="FFCC00"/>
    <a:srgbClr val="005AA1"/>
    <a:srgbClr val="FCB713"/>
    <a:srgbClr val="0078D7"/>
    <a:srgbClr val="0D7595"/>
    <a:srgbClr val="5ACBF0"/>
    <a:srgbClr val="003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79002" autoAdjust="0"/>
  </p:normalViewPr>
  <p:slideViewPr>
    <p:cSldViewPr snapToGrid="0">
      <p:cViewPr varScale="1">
        <p:scale>
          <a:sx n="60" d="100"/>
          <a:sy n="60" d="100"/>
        </p:scale>
        <p:origin x="1092" y="7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7" d="100"/>
          <a:sy n="87" d="100"/>
        </p:scale>
        <p:origin x="3840"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presProps" Target="presProps.xml"/><Relationship Id="rId30"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42990-62A4-4545-B120-1F8AF25A0D6E}"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n-US"/>
        </a:p>
      </dgm:t>
    </dgm:pt>
    <dgm:pt modelId="{0FF8BA2A-500B-413D-8B7A-0FD72A53075A}">
      <dgm:prSet phldrT="[Text]" custT="1"/>
      <dgm:spPr/>
      <dgm:t>
        <a:bodyPr/>
        <a:lstStyle/>
        <a:p>
          <a:pPr algn="ctr"/>
          <a:r>
            <a:rPr lang="en-US" sz="2800" dirty="0">
              <a:latin typeface="+mj-lt"/>
            </a:rPr>
            <a:t>Business Understanding</a:t>
          </a:r>
        </a:p>
      </dgm:t>
    </dgm:pt>
    <dgm:pt modelId="{A445CB5E-895F-4150-B184-2C8283752FC5}" type="parTrans" cxnId="{A346880C-19BB-492E-86E8-A5888A7956E2}">
      <dgm:prSet/>
      <dgm:spPr/>
      <dgm:t>
        <a:bodyPr/>
        <a:lstStyle/>
        <a:p>
          <a:endParaRPr lang="en-US">
            <a:latin typeface="+mj-lt"/>
          </a:endParaRPr>
        </a:p>
      </dgm:t>
    </dgm:pt>
    <dgm:pt modelId="{F4903262-3BB8-4A76-A3AA-54C0993BC220}" type="sibTrans" cxnId="{A346880C-19BB-492E-86E8-A5888A7956E2}">
      <dgm:prSet/>
      <dgm:spPr/>
      <dgm:t>
        <a:bodyPr/>
        <a:lstStyle/>
        <a:p>
          <a:endParaRPr lang="en-US">
            <a:latin typeface="+mj-lt"/>
          </a:endParaRPr>
        </a:p>
      </dgm:t>
    </dgm:pt>
    <dgm:pt modelId="{8589F281-C004-49C2-9A17-144391E503DE}">
      <dgm:prSet phldrT="[Text]" custT="1"/>
      <dgm:spPr/>
      <dgm:t>
        <a:bodyPr/>
        <a:lstStyle/>
        <a:p>
          <a:r>
            <a:rPr lang="en-US" sz="2000" dirty="0">
              <a:latin typeface="+mj-lt"/>
            </a:rPr>
            <a:t>Define Objectives</a:t>
          </a:r>
        </a:p>
      </dgm:t>
    </dgm:pt>
    <dgm:pt modelId="{68ACA663-A4B5-4322-A79B-E6FDA765E412}" type="parTrans" cxnId="{B844C6F1-2818-4F3A-97BB-A513A7A6487D}">
      <dgm:prSet/>
      <dgm:spPr/>
      <dgm:t>
        <a:bodyPr/>
        <a:lstStyle/>
        <a:p>
          <a:endParaRPr lang="en-US">
            <a:latin typeface="+mj-lt"/>
          </a:endParaRPr>
        </a:p>
      </dgm:t>
    </dgm:pt>
    <dgm:pt modelId="{C3FF912E-6EAA-40C0-8E91-AAAED8175040}" type="sibTrans" cxnId="{B844C6F1-2818-4F3A-97BB-A513A7A6487D}">
      <dgm:prSet/>
      <dgm:spPr/>
      <dgm:t>
        <a:bodyPr/>
        <a:lstStyle/>
        <a:p>
          <a:endParaRPr lang="en-US">
            <a:latin typeface="+mj-lt"/>
          </a:endParaRPr>
        </a:p>
      </dgm:t>
    </dgm:pt>
    <dgm:pt modelId="{7C9DA717-4609-4F35-9627-FBCE587B2E07}">
      <dgm:prSet phldrT="[Text]" custT="1"/>
      <dgm:spPr/>
      <dgm:t>
        <a:bodyPr/>
        <a:lstStyle/>
        <a:p>
          <a:r>
            <a:rPr lang="en-US" sz="2000" dirty="0">
              <a:latin typeface="+mj-lt"/>
            </a:rPr>
            <a:t>Identify Data Sources</a:t>
          </a:r>
        </a:p>
      </dgm:t>
    </dgm:pt>
    <dgm:pt modelId="{E5D39B11-6038-4BAB-A377-66C89B23A4FE}" type="parTrans" cxnId="{220E0694-B595-46BE-BDB9-2B1763BF7F42}">
      <dgm:prSet/>
      <dgm:spPr/>
      <dgm:t>
        <a:bodyPr/>
        <a:lstStyle/>
        <a:p>
          <a:endParaRPr lang="en-US">
            <a:latin typeface="+mj-lt"/>
          </a:endParaRPr>
        </a:p>
      </dgm:t>
    </dgm:pt>
    <dgm:pt modelId="{C70C4ADA-4F3B-4BCA-9873-A32F1BD4BEED}" type="sibTrans" cxnId="{220E0694-B595-46BE-BDB9-2B1763BF7F42}">
      <dgm:prSet/>
      <dgm:spPr/>
      <dgm:t>
        <a:bodyPr/>
        <a:lstStyle/>
        <a:p>
          <a:endParaRPr lang="en-US">
            <a:latin typeface="+mj-lt"/>
          </a:endParaRPr>
        </a:p>
      </dgm:t>
    </dgm:pt>
    <dgm:pt modelId="{F1A8E0FB-6830-44B9-AD5D-2C6541803F4D}">
      <dgm:prSet phldrT="[Text]" custT="1"/>
      <dgm:spPr/>
      <dgm:t>
        <a:bodyPr/>
        <a:lstStyle/>
        <a:p>
          <a:pPr algn="ctr"/>
          <a:r>
            <a:rPr lang="en-US" sz="2800" dirty="0">
              <a:latin typeface="+mj-lt"/>
            </a:rPr>
            <a:t>Data Acquisition and Understanding</a:t>
          </a:r>
        </a:p>
      </dgm:t>
    </dgm:pt>
    <dgm:pt modelId="{BA9882FF-0D62-440B-AE35-07B5440B7352}" type="parTrans" cxnId="{DA864F5A-43C0-4EAB-ACD8-C653DCDBC285}">
      <dgm:prSet/>
      <dgm:spPr/>
      <dgm:t>
        <a:bodyPr/>
        <a:lstStyle/>
        <a:p>
          <a:endParaRPr lang="en-US">
            <a:latin typeface="+mj-lt"/>
          </a:endParaRPr>
        </a:p>
      </dgm:t>
    </dgm:pt>
    <dgm:pt modelId="{BE3BCC92-A824-45B0-AD74-589AA75A91ED}" type="sibTrans" cxnId="{DA864F5A-43C0-4EAB-ACD8-C653DCDBC285}">
      <dgm:prSet/>
      <dgm:spPr/>
      <dgm:t>
        <a:bodyPr/>
        <a:lstStyle/>
        <a:p>
          <a:endParaRPr lang="en-US">
            <a:latin typeface="+mj-lt"/>
          </a:endParaRPr>
        </a:p>
      </dgm:t>
    </dgm:pt>
    <dgm:pt modelId="{6DCAF490-84DF-45AB-95F8-850141BC8BDF}">
      <dgm:prSet phldrT="[Text]" custT="1"/>
      <dgm:spPr/>
      <dgm:t>
        <a:bodyPr/>
        <a:lstStyle/>
        <a:p>
          <a:r>
            <a:rPr lang="en-US" sz="2000" dirty="0">
              <a:latin typeface="+mj-lt"/>
            </a:rPr>
            <a:t>Ingest Data</a:t>
          </a:r>
        </a:p>
      </dgm:t>
    </dgm:pt>
    <dgm:pt modelId="{313354FE-947E-4C91-850E-55158EB5406E}" type="parTrans" cxnId="{DB01149F-013B-4AAC-83B8-EA5A02812FB1}">
      <dgm:prSet/>
      <dgm:spPr/>
      <dgm:t>
        <a:bodyPr/>
        <a:lstStyle/>
        <a:p>
          <a:endParaRPr lang="en-US">
            <a:latin typeface="+mj-lt"/>
          </a:endParaRPr>
        </a:p>
      </dgm:t>
    </dgm:pt>
    <dgm:pt modelId="{263CB43B-A0A5-48BB-9C20-6635267C3C22}" type="sibTrans" cxnId="{DB01149F-013B-4AAC-83B8-EA5A02812FB1}">
      <dgm:prSet/>
      <dgm:spPr/>
      <dgm:t>
        <a:bodyPr/>
        <a:lstStyle/>
        <a:p>
          <a:endParaRPr lang="en-US">
            <a:latin typeface="+mj-lt"/>
          </a:endParaRPr>
        </a:p>
      </dgm:t>
    </dgm:pt>
    <dgm:pt modelId="{FFA8810D-171E-4ADC-9CA8-AD57E9D504B9}">
      <dgm:prSet phldrT="[Text]" custT="1"/>
      <dgm:spPr/>
      <dgm:t>
        <a:bodyPr/>
        <a:lstStyle/>
        <a:p>
          <a:r>
            <a:rPr lang="en-US" sz="2000" dirty="0">
              <a:latin typeface="+mj-lt"/>
            </a:rPr>
            <a:t>Explore Data</a:t>
          </a:r>
        </a:p>
      </dgm:t>
    </dgm:pt>
    <dgm:pt modelId="{5D65951A-CE03-4794-9B2D-0A910A6F7FFB}" type="parTrans" cxnId="{E0CB53AF-1846-4839-A817-1BC95F8C73F9}">
      <dgm:prSet/>
      <dgm:spPr/>
      <dgm:t>
        <a:bodyPr/>
        <a:lstStyle/>
        <a:p>
          <a:endParaRPr lang="en-US">
            <a:latin typeface="+mj-lt"/>
          </a:endParaRPr>
        </a:p>
      </dgm:t>
    </dgm:pt>
    <dgm:pt modelId="{39C8D19E-6ADE-404A-843B-5F7020E72704}" type="sibTrans" cxnId="{E0CB53AF-1846-4839-A817-1BC95F8C73F9}">
      <dgm:prSet/>
      <dgm:spPr/>
      <dgm:t>
        <a:bodyPr/>
        <a:lstStyle/>
        <a:p>
          <a:endParaRPr lang="en-US">
            <a:latin typeface="+mj-lt"/>
          </a:endParaRPr>
        </a:p>
      </dgm:t>
    </dgm:pt>
    <dgm:pt modelId="{D66E06A0-8A7E-4EC6-8113-DDE9A8B91FA6}">
      <dgm:prSet phldrT="[Text]" custT="1"/>
      <dgm:spPr/>
      <dgm:t>
        <a:bodyPr/>
        <a:lstStyle/>
        <a:p>
          <a:pPr algn="ctr"/>
          <a:r>
            <a:rPr lang="en-US" sz="2800" dirty="0">
              <a:latin typeface="+mj-lt"/>
            </a:rPr>
            <a:t>Modeling</a:t>
          </a:r>
        </a:p>
      </dgm:t>
    </dgm:pt>
    <dgm:pt modelId="{C867E6D7-68AF-43C6-9E80-BCCDD787550D}" type="parTrans" cxnId="{BEEC91A6-BF3F-4E21-859A-6D47ACAB8869}">
      <dgm:prSet/>
      <dgm:spPr/>
      <dgm:t>
        <a:bodyPr/>
        <a:lstStyle/>
        <a:p>
          <a:endParaRPr lang="en-US">
            <a:latin typeface="+mj-lt"/>
          </a:endParaRPr>
        </a:p>
      </dgm:t>
    </dgm:pt>
    <dgm:pt modelId="{4B0A02DB-F299-4AF6-A72B-B326FF7FE0BF}" type="sibTrans" cxnId="{BEEC91A6-BF3F-4E21-859A-6D47ACAB8869}">
      <dgm:prSet/>
      <dgm:spPr/>
      <dgm:t>
        <a:bodyPr/>
        <a:lstStyle/>
        <a:p>
          <a:endParaRPr lang="en-US">
            <a:latin typeface="+mj-lt"/>
          </a:endParaRPr>
        </a:p>
      </dgm:t>
    </dgm:pt>
    <dgm:pt modelId="{E08D914F-4215-41A4-8173-F3CBF316F76B}">
      <dgm:prSet phldrT="[Text]" custT="1"/>
      <dgm:spPr/>
      <dgm:t>
        <a:bodyPr/>
        <a:lstStyle/>
        <a:p>
          <a:r>
            <a:rPr lang="en-US" sz="2000" dirty="0">
              <a:latin typeface="+mj-lt"/>
            </a:rPr>
            <a:t>Feature Selection</a:t>
          </a:r>
        </a:p>
      </dgm:t>
    </dgm:pt>
    <dgm:pt modelId="{6E6AFD42-BD05-4248-B472-1EFABC017324}" type="parTrans" cxnId="{61EC2C2C-336E-4152-BF38-E133255426BA}">
      <dgm:prSet/>
      <dgm:spPr/>
      <dgm:t>
        <a:bodyPr/>
        <a:lstStyle/>
        <a:p>
          <a:endParaRPr lang="en-US">
            <a:latin typeface="+mj-lt"/>
          </a:endParaRPr>
        </a:p>
      </dgm:t>
    </dgm:pt>
    <dgm:pt modelId="{1759AAC5-ADE9-4C55-8CBC-F1BA87C7A449}" type="sibTrans" cxnId="{61EC2C2C-336E-4152-BF38-E133255426BA}">
      <dgm:prSet/>
      <dgm:spPr/>
      <dgm:t>
        <a:bodyPr/>
        <a:lstStyle/>
        <a:p>
          <a:endParaRPr lang="en-US">
            <a:latin typeface="+mj-lt"/>
          </a:endParaRPr>
        </a:p>
      </dgm:t>
    </dgm:pt>
    <dgm:pt modelId="{EFB0480E-A451-4750-9076-B8DA17ACD683}">
      <dgm:prSet phldrT="[Text]" custT="1"/>
      <dgm:spPr/>
      <dgm:t>
        <a:bodyPr/>
        <a:lstStyle/>
        <a:p>
          <a:r>
            <a:rPr lang="en-US" sz="2000" dirty="0">
              <a:latin typeface="+mj-lt"/>
            </a:rPr>
            <a:t>Create and Train Model</a:t>
          </a:r>
        </a:p>
      </dgm:t>
    </dgm:pt>
    <dgm:pt modelId="{02255FE4-1BB8-44C8-8FC3-2DB4276D8435}" type="parTrans" cxnId="{F0686254-8BC6-438F-8EFC-387D3C1B4582}">
      <dgm:prSet/>
      <dgm:spPr/>
      <dgm:t>
        <a:bodyPr/>
        <a:lstStyle/>
        <a:p>
          <a:endParaRPr lang="en-US">
            <a:latin typeface="+mj-lt"/>
          </a:endParaRPr>
        </a:p>
      </dgm:t>
    </dgm:pt>
    <dgm:pt modelId="{7ECF0E78-DA31-4B08-B8BA-D36DB4135973}" type="sibTrans" cxnId="{F0686254-8BC6-438F-8EFC-387D3C1B4582}">
      <dgm:prSet/>
      <dgm:spPr/>
      <dgm:t>
        <a:bodyPr/>
        <a:lstStyle/>
        <a:p>
          <a:endParaRPr lang="en-US">
            <a:latin typeface="+mj-lt"/>
          </a:endParaRPr>
        </a:p>
      </dgm:t>
    </dgm:pt>
    <dgm:pt modelId="{31989D70-38F8-40B4-A5B4-5B64244B04DB}">
      <dgm:prSet phldrT="[Text]" custT="1"/>
      <dgm:spPr/>
      <dgm:t>
        <a:bodyPr/>
        <a:lstStyle/>
        <a:p>
          <a:pPr algn="ctr"/>
          <a:r>
            <a:rPr lang="en-US" sz="2800" dirty="0">
              <a:latin typeface="+mj-lt"/>
            </a:rPr>
            <a:t>Deployment</a:t>
          </a:r>
        </a:p>
      </dgm:t>
    </dgm:pt>
    <dgm:pt modelId="{E572721F-5C44-451C-B622-59B69949FB6F}" type="parTrans" cxnId="{991DC740-DAA8-4D0F-9BAB-A0D216E7CC9C}">
      <dgm:prSet/>
      <dgm:spPr/>
      <dgm:t>
        <a:bodyPr/>
        <a:lstStyle/>
        <a:p>
          <a:endParaRPr lang="en-US">
            <a:latin typeface="+mj-lt"/>
          </a:endParaRPr>
        </a:p>
      </dgm:t>
    </dgm:pt>
    <dgm:pt modelId="{FF3730C5-5E1C-4ACF-986C-1F8BDC2A87DC}" type="sibTrans" cxnId="{991DC740-DAA8-4D0F-9BAB-A0D216E7CC9C}">
      <dgm:prSet/>
      <dgm:spPr/>
      <dgm:t>
        <a:bodyPr/>
        <a:lstStyle/>
        <a:p>
          <a:endParaRPr lang="en-US">
            <a:latin typeface="+mj-lt"/>
          </a:endParaRPr>
        </a:p>
      </dgm:t>
    </dgm:pt>
    <dgm:pt modelId="{75DF6D0E-EF2D-4899-8D56-11F561E3DB25}">
      <dgm:prSet phldrT="[Text]" custT="1"/>
      <dgm:spPr/>
      <dgm:t>
        <a:bodyPr/>
        <a:lstStyle/>
        <a:p>
          <a:pPr algn="ctr"/>
          <a:r>
            <a:rPr lang="en-US" sz="2800" dirty="0">
              <a:latin typeface="+mj-lt"/>
            </a:rPr>
            <a:t>Customer Acceptance</a:t>
          </a:r>
        </a:p>
      </dgm:t>
    </dgm:pt>
    <dgm:pt modelId="{510C85D3-5932-4392-B61F-F44832C002FA}" type="parTrans" cxnId="{6D864F09-96B6-4444-95BB-D36241D055AD}">
      <dgm:prSet/>
      <dgm:spPr/>
      <dgm:t>
        <a:bodyPr/>
        <a:lstStyle/>
        <a:p>
          <a:endParaRPr lang="en-US">
            <a:latin typeface="+mj-lt"/>
          </a:endParaRPr>
        </a:p>
      </dgm:t>
    </dgm:pt>
    <dgm:pt modelId="{EEE1824F-AA0C-4316-B13D-ED5B6C4A0BFF}" type="sibTrans" cxnId="{6D864F09-96B6-4444-95BB-D36241D055AD}">
      <dgm:prSet/>
      <dgm:spPr/>
      <dgm:t>
        <a:bodyPr/>
        <a:lstStyle/>
        <a:p>
          <a:endParaRPr lang="en-US">
            <a:latin typeface="+mj-lt"/>
          </a:endParaRPr>
        </a:p>
      </dgm:t>
    </dgm:pt>
    <dgm:pt modelId="{07E81225-DE19-4D3E-99CD-FC123A33837F}">
      <dgm:prSet phldrT="[Text]" custT="1"/>
      <dgm:spPr/>
      <dgm:t>
        <a:bodyPr/>
        <a:lstStyle/>
        <a:p>
          <a:r>
            <a:rPr lang="en-US" sz="2000" dirty="0">
              <a:latin typeface="+mj-lt"/>
            </a:rPr>
            <a:t>Operationalize</a:t>
          </a:r>
        </a:p>
      </dgm:t>
    </dgm:pt>
    <dgm:pt modelId="{642D5DAC-991D-456E-978D-DDF8870668E2}" type="parTrans" cxnId="{F9E74B76-F3C8-474B-BE2E-672A4119380A}">
      <dgm:prSet/>
      <dgm:spPr/>
      <dgm:t>
        <a:bodyPr/>
        <a:lstStyle/>
        <a:p>
          <a:endParaRPr lang="en-US">
            <a:latin typeface="+mj-lt"/>
          </a:endParaRPr>
        </a:p>
      </dgm:t>
    </dgm:pt>
    <dgm:pt modelId="{71EEF2D0-2FC1-4663-8EEF-F8400FED6EFD}" type="sibTrans" cxnId="{F9E74B76-F3C8-474B-BE2E-672A4119380A}">
      <dgm:prSet/>
      <dgm:spPr/>
      <dgm:t>
        <a:bodyPr/>
        <a:lstStyle/>
        <a:p>
          <a:endParaRPr lang="en-US">
            <a:latin typeface="+mj-lt"/>
          </a:endParaRPr>
        </a:p>
      </dgm:t>
    </dgm:pt>
    <dgm:pt modelId="{0EBDD81E-61F5-4638-8D23-E64C5784A7CF}">
      <dgm:prSet phldrT="[Text]" custT="1"/>
      <dgm:spPr/>
      <dgm:t>
        <a:bodyPr/>
        <a:lstStyle/>
        <a:p>
          <a:r>
            <a:rPr lang="en-US" sz="2000" dirty="0">
              <a:latin typeface="+mj-lt"/>
            </a:rPr>
            <a:t>Testing and Validation</a:t>
          </a:r>
        </a:p>
      </dgm:t>
    </dgm:pt>
    <dgm:pt modelId="{5BB68B6B-2470-4B4F-B825-03319C46AB79}" type="parTrans" cxnId="{0652195D-79AA-41CB-A507-64DF25821FDC}">
      <dgm:prSet/>
      <dgm:spPr/>
      <dgm:t>
        <a:bodyPr/>
        <a:lstStyle/>
        <a:p>
          <a:endParaRPr lang="en-US">
            <a:latin typeface="+mj-lt"/>
          </a:endParaRPr>
        </a:p>
      </dgm:t>
    </dgm:pt>
    <dgm:pt modelId="{91158606-88ED-478A-99A3-FF66895B49FF}" type="sibTrans" cxnId="{0652195D-79AA-41CB-A507-64DF25821FDC}">
      <dgm:prSet/>
      <dgm:spPr/>
      <dgm:t>
        <a:bodyPr/>
        <a:lstStyle/>
        <a:p>
          <a:endParaRPr lang="en-US">
            <a:latin typeface="+mj-lt"/>
          </a:endParaRPr>
        </a:p>
      </dgm:t>
    </dgm:pt>
    <dgm:pt modelId="{8A560357-68DD-41D8-841B-C94F1FF7F8C1}">
      <dgm:prSet phldrT="[Text]" custT="1"/>
      <dgm:spPr/>
      <dgm:t>
        <a:bodyPr/>
        <a:lstStyle/>
        <a:p>
          <a:r>
            <a:rPr lang="en-US" sz="2000" dirty="0">
              <a:latin typeface="+mj-lt"/>
            </a:rPr>
            <a:t>Update Data</a:t>
          </a:r>
        </a:p>
      </dgm:t>
    </dgm:pt>
    <dgm:pt modelId="{3BC3B257-E716-47FF-9C4E-A1CCC502A26F}" type="parTrans" cxnId="{6D9D5740-A78E-432A-A19B-79A7629DFBD0}">
      <dgm:prSet/>
      <dgm:spPr/>
      <dgm:t>
        <a:bodyPr/>
        <a:lstStyle/>
        <a:p>
          <a:endParaRPr lang="en-US">
            <a:latin typeface="+mj-lt"/>
          </a:endParaRPr>
        </a:p>
      </dgm:t>
    </dgm:pt>
    <dgm:pt modelId="{0F75D6C4-A5C5-4C0B-A3E7-E1F9127F0B24}" type="sibTrans" cxnId="{6D9D5740-A78E-432A-A19B-79A7629DFBD0}">
      <dgm:prSet/>
      <dgm:spPr/>
      <dgm:t>
        <a:bodyPr/>
        <a:lstStyle/>
        <a:p>
          <a:endParaRPr lang="en-US">
            <a:latin typeface="+mj-lt"/>
          </a:endParaRPr>
        </a:p>
      </dgm:t>
    </dgm:pt>
    <dgm:pt modelId="{051E23BA-27D6-402B-8FD0-643279078F48}">
      <dgm:prSet phldrT="[Text]" custT="1"/>
      <dgm:spPr/>
      <dgm:t>
        <a:bodyPr/>
        <a:lstStyle/>
        <a:p>
          <a:r>
            <a:rPr lang="en-US" sz="2000" dirty="0">
              <a:latin typeface="+mj-lt"/>
            </a:rPr>
            <a:t>Handoff</a:t>
          </a:r>
        </a:p>
      </dgm:t>
    </dgm:pt>
    <dgm:pt modelId="{DA361144-F3E9-4156-9CC2-FE98E458196C}" type="parTrans" cxnId="{9D250ACB-3782-4169-9513-D5939A72E14C}">
      <dgm:prSet/>
      <dgm:spPr/>
      <dgm:t>
        <a:bodyPr/>
        <a:lstStyle/>
        <a:p>
          <a:endParaRPr lang="en-US">
            <a:latin typeface="+mj-lt"/>
          </a:endParaRPr>
        </a:p>
      </dgm:t>
    </dgm:pt>
    <dgm:pt modelId="{AE55AD9A-A016-48D5-8B34-AF4339F64545}" type="sibTrans" cxnId="{9D250ACB-3782-4169-9513-D5939A72E14C}">
      <dgm:prSet/>
      <dgm:spPr/>
      <dgm:t>
        <a:bodyPr/>
        <a:lstStyle/>
        <a:p>
          <a:endParaRPr lang="en-US">
            <a:latin typeface="+mj-lt"/>
          </a:endParaRPr>
        </a:p>
      </dgm:t>
    </dgm:pt>
    <dgm:pt modelId="{22DA92B9-9C40-4A25-8285-966799791BE7}">
      <dgm:prSet phldrT="[Text]" custT="1"/>
      <dgm:spPr/>
      <dgm:t>
        <a:bodyPr/>
        <a:lstStyle/>
        <a:p>
          <a:r>
            <a:rPr lang="en-US" sz="2000" dirty="0">
              <a:latin typeface="+mj-lt"/>
            </a:rPr>
            <a:t>Re-train and re-score</a:t>
          </a:r>
        </a:p>
      </dgm:t>
    </dgm:pt>
    <dgm:pt modelId="{31A0D76F-F3CA-4A56-BA36-A4E6E0932F46}" type="parTrans" cxnId="{0E99CA05-F61F-4393-A01F-8CCEDBA18F50}">
      <dgm:prSet/>
      <dgm:spPr/>
      <dgm:t>
        <a:bodyPr/>
        <a:lstStyle/>
        <a:p>
          <a:endParaRPr lang="en-US">
            <a:latin typeface="+mj-lt"/>
          </a:endParaRPr>
        </a:p>
      </dgm:t>
    </dgm:pt>
    <dgm:pt modelId="{C2D43770-B53D-4E3F-BFD7-DA47BF161F8F}" type="sibTrans" cxnId="{0E99CA05-F61F-4393-A01F-8CCEDBA18F50}">
      <dgm:prSet/>
      <dgm:spPr/>
      <dgm:t>
        <a:bodyPr/>
        <a:lstStyle/>
        <a:p>
          <a:endParaRPr lang="en-US">
            <a:latin typeface="+mj-lt"/>
          </a:endParaRPr>
        </a:p>
      </dgm:t>
    </dgm:pt>
    <dgm:pt modelId="{C5ED45AB-5708-4618-8F2A-585D84BC9EAD}" type="pres">
      <dgm:prSet presAssocID="{A6842990-62A4-4545-B120-1F8AF25A0D6E}" presName="Name0" presStyleCnt="0">
        <dgm:presLayoutVars>
          <dgm:dir/>
          <dgm:animLvl val="lvl"/>
          <dgm:resizeHandles val="exact"/>
        </dgm:presLayoutVars>
      </dgm:prSet>
      <dgm:spPr/>
    </dgm:pt>
    <dgm:pt modelId="{210816C1-7BD4-4E1F-9BAF-45430065939E}" type="pres">
      <dgm:prSet presAssocID="{0FF8BA2A-500B-413D-8B7A-0FD72A53075A}" presName="linNode" presStyleCnt="0"/>
      <dgm:spPr/>
    </dgm:pt>
    <dgm:pt modelId="{FCE31E78-3DAC-4692-A464-D0C835B3F5C0}" type="pres">
      <dgm:prSet presAssocID="{0FF8BA2A-500B-413D-8B7A-0FD72A53075A}" presName="parentText" presStyleLbl="node1" presStyleIdx="0" presStyleCnt="5" custScaleX="202485">
        <dgm:presLayoutVars>
          <dgm:chMax val="1"/>
          <dgm:bulletEnabled val="1"/>
        </dgm:presLayoutVars>
      </dgm:prSet>
      <dgm:spPr/>
    </dgm:pt>
    <dgm:pt modelId="{43C6ABD0-F64A-458E-8A26-0D837897DC64}" type="pres">
      <dgm:prSet presAssocID="{0FF8BA2A-500B-413D-8B7A-0FD72A53075A}" presName="descendantText" presStyleLbl="alignAccFollowNode1" presStyleIdx="0" presStyleCnt="5">
        <dgm:presLayoutVars>
          <dgm:bulletEnabled val="1"/>
        </dgm:presLayoutVars>
      </dgm:prSet>
      <dgm:spPr/>
    </dgm:pt>
    <dgm:pt modelId="{46882EB6-A3B5-4F96-AFCB-DD20C8B79C51}" type="pres">
      <dgm:prSet presAssocID="{F4903262-3BB8-4A76-A3AA-54C0993BC220}" presName="sp" presStyleCnt="0"/>
      <dgm:spPr/>
    </dgm:pt>
    <dgm:pt modelId="{778044F5-F603-40D5-9552-BC7E2EC9D884}" type="pres">
      <dgm:prSet presAssocID="{F1A8E0FB-6830-44B9-AD5D-2C6541803F4D}" presName="linNode" presStyleCnt="0"/>
      <dgm:spPr/>
    </dgm:pt>
    <dgm:pt modelId="{3E606814-09D9-4B4C-8F40-66F312978EEB}" type="pres">
      <dgm:prSet presAssocID="{F1A8E0FB-6830-44B9-AD5D-2C6541803F4D}" presName="parentText" presStyleLbl="node1" presStyleIdx="1" presStyleCnt="5" custScaleX="202485">
        <dgm:presLayoutVars>
          <dgm:chMax val="1"/>
          <dgm:bulletEnabled val="1"/>
        </dgm:presLayoutVars>
      </dgm:prSet>
      <dgm:spPr/>
    </dgm:pt>
    <dgm:pt modelId="{B35FD520-5FF0-41BD-887C-8B0911FFCB12}" type="pres">
      <dgm:prSet presAssocID="{F1A8E0FB-6830-44B9-AD5D-2C6541803F4D}" presName="descendantText" presStyleLbl="alignAccFollowNode1" presStyleIdx="1" presStyleCnt="5">
        <dgm:presLayoutVars>
          <dgm:bulletEnabled val="1"/>
        </dgm:presLayoutVars>
      </dgm:prSet>
      <dgm:spPr/>
    </dgm:pt>
    <dgm:pt modelId="{D5C5E9EF-7F27-4FF7-8CAB-C92EA47DC3D6}" type="pres">
      <dgm:prSet presAssocID="{BE3BCC92-A824-45B0-AD74-589AA75A91ED}" presName="sp" presStyleCnt="0"/>
      <dgm:spPr/>
    </dgm:pt>
    <dgm:pt modelId="{72C8B641-2F72-485E-A0ED-A940665DEF29}" type="pres">
      <dgm:prSet presAssocID="{D66E06A0-8A7E-4EC6-8113-DDE9A8B91FA6}" presName="linNode" presStyleCnt="0"/>
      <dgm:spPr/>
    </dgm:pt>
    <dgm:pt modelId="{D8CBC06D-2193-488F-8EDE-5FAA991E0B6B}" type="pres">
      <dgm:prSet presAssocID="{D66E06A0-8A7E-4EC6-8113-DDE9A8B91FA6}" presName="parentText" presStyleLbl="node1" presStyleIdx="2" presStyleCnt="5" custScaleX="202485">
        <dgm:presLayoutVars>
          <dgm:chMax val="1"/>
          <dgm:bulletEnabled val="1"/>
        </dgm:presLayoutVars>
      </dgm:prSet>
      <dgm:spPr/>
    </dgm:pt>
    <dgm:pt modelId="{EF322D6C-1CB6-431F-8B42-A64D898D2824}" type="pres">
      <dgm:prSet presAssocID="{D66E06A0-8A7E-4EC6-8113-DDE9A8B91FA6}" presName="descendantText" presStyleLbl="alignAccFollowNode1" presStyleIdx="2" presStyleCnt="5">
        <dgm:presLayoutVars>
          <dgm:bulletEnabled val="1"/>
        </dgm:presLayoutVars>
      </dgm:prSet>
      <dgm:spPr/>
    </dgm:pt>
    <dgm:pt modelId="{5D027A10-F74F-4727-9E3F-6EEA93EE4288}" type="pres">
      <dgm:prSet presAssocID="{4B0A02DB-F299-4AF6-A72B-B326FF7FE0BF}" presName="sp" presStyleCnt="0"/>
      <dgm:spPr/>
    </dgm:pt>
    <dgm:pt modelId="{6D857F1D-1E3D-4FB8-9D34-97C6D4E649D1}" type="pres">
      <dgm:prSet presAssocID="{31989D70-38F8-40B4-A5B4-5B64244B04DB}" presName="linNode" presStyleCnt="0"/>
      <dgm:spPr/>
    </dgm:pt>
    <dgm:pt modelId="{C971C0CD-D6D6-4BD2-B517-483DD2B85EA0}" type="pres">
      <dgm:prSet presAssocID="{31989D70-38F8-40B4-A5B4-5B64244B04DB}" presName="parentText" presStyleLbl="node1" presStyleIdx="3" presStyleCnt="5" custScaleX="202485">
        <dgm:presLayoutVars>
          <dgm:chMax val="1"/>
          <dgm:bulletEnabled val="1"/>
        </dgm:presLayoutVars>
      </dgm:prSet>
      <dgm:spPr/>
    </dgm:pt>
    <dgm:pt modelId="{DE1FE771-1582-4775-9E8F-B758D933162D}" type="pres">
      <dgm:prSet presAssocID="{31989D70-38F8-40B4-A5B4-5B64244B04DB}" presName="descendantText" presStyleLbl="alignAccFollowNode1" presStyleIdx="3" presStyleCnt="5">
        <dgm:presLayoutVars>
          <dgm:bulletEnabled val="1"/>
        </dgm:presLayoutVars>
      </dgm:prSet>
      <dgm:spPr/>
    </dgm:pt>
    <dgm:pt modelId="{396899F4-452F-4C21-9308-1A185EB0D170}" type="pres">
      <dgm:prSet presAssocID="{FF3730C5-5E1C-4ACF-986C-1F8BDC2A87DC}" presName="sp" presStyleCnt="0"/>
      <dgm:spPr/>
    </dgm:pt>
    <dgm:pt modelId="{0B8CE6DB-5E88-49FA-A351-9AFC9ADFC256}" type="pres">
      <dgm:prSet presAssocID="{75DF6D0E-EF2D-4899-8D56-11F561E3DB25}" presName="linNode" presStyleCnt="0"/>
      <dgm:spPr/>
    </dgm:pt>
    <dgm:pt modelId="{C5DBDEB5-64EF-486D-ADE8-9AD2774135B2}" type="pres">
      <dgm:prSet presAssocID="{75DF6D0E-EF2D-4899-8D56-11F561E3DB25}" presName="parentText" presStyleLbl="node1" presStyleIdx="4" presStyleCnt="5" custScaleX="202485">
        <dgm:presLayoutVars>
          <dgm:chMax val="1"/>
          <dgm:bulletEnabled val="1"/>
        </dgm:presLayoutVars>
      </dgm:prSet>
      <dgm:spPr/>
    </dgm:pt>
    <dgm:pt modelId="{E36319A3-4DDD-4596-A48B-3AFC2FB82E08}" type="pres">
      <dgm:prSet presAssocID="{75DF6D0E-EF2D-4899-8D56-11F561E3DB25}" presName="descendantText" presStyleLbl="alignAccFollowNode1" presStyleIdx="4" presStyleCnt="5">
        <dgm:presLayoutVars>
          <dgm:bulletEnabled val="1"/>
        </dgm:presLayoutVars>
      </dgm:prSet>
      <dgm:spPr/>
    </dgm:pt>
  </dgm:ptLst>
  <dgm:cxnLst>
    <dgm:cxn modelId="{DDE004FE-29B7-4A52-86FC-2EB3E9848396}" type="presOf" srcId="{31989D70-38F8-40B4-A5B4-5B64244B04DB}" destId="{C971C0CD-D6D6-4BD2-B517-483DD2B85EA0}" srcOrd="0" destOrd="0" presId="urn:microsoft.com/office/officeart/2005/8/layout/vList5"/>
    <dgm:cxn modelId="{1FC3DAAC-2674-4AC0-A681-6AC6E1E041FE}" type="presOf" srcId="{07E81225-DE19-4D3E-99CD-FC123A33837F}" destId="{DE1FE771-1582-4775-9E8F-B758D933162D}" srcOrd="0" destOrd="0" presId="urn:microsoft.com/office/officeart/2005/8/layout/vList5"/>
    <dgm:cxn modelId="{60DB5F81-807B-4DAD-8ED9-6DCE2A60111F}" type="presOf" srcId="{8589F281-C004-49C2-9A17-144391E503DE}" destId="{43C6ABD0-F64A-458E-8A26-0D837897DC64}" srcOrd="0" destOrd="0" presId="urn:microsoft.com/office/officeart/2005/8/layout/vList5"/>
    <dgm:cxn modelId="{220E0694-B595-46BE-BDB9-2B1763BF7F42}" srcId="{0FF8BA2A-500B-413D-8B7A-0FD72A53075A}" destId="{7C9DA717-4609-4F35-9627-FBCE587B2E07}" srcOrd="1" destOrd="0" parTransId="{E5D39B11-6038-4BAB-A377-66C89B23A4FE}" sibTransId="{C70C4ADA-4F3B-4BCA-9873-A32F1BD4BEED}"/>
    <dgm:cxn modelId="{8122CC33-B4F2-4AA4-9832-D53CD089768C}" type="presOf" srcId="{75DF6D0E-EF2D-4899-8D56-11F561E3DB25}" destId="{C5DBDEB5-64EF-486D-ADE8-9AD2774135B2}" srcOrd="0" destOrd="0" presId="urn:microsoft.com/office/officeart/2005/8/layout/vList5"/>
    <dgm:cxn modelId="{657DF6AF-D666-4D2C-A115-75BA748559C6}" type="presOf" srcId="{8A560357-68DD-41D8-841B-C94F1FF7F8C1}" destId="{B35FD520-5FF0-41BD-887C-8B0911FFCB12}" srcOrd="0" destOrd="2" presId="urn:microsoft.com/office/officeart/2005/8/layout/vList5"/>
    <dgm:cxn modelId="{2178D97F-3CAA-4CEB-BCA2-825BD11AB20F}" type="presOf" srcId="{FFA8810D-171E-4ADC-9CA8-AD57E9D504B9}" destId="{B35FD520-5FF0-41BD-887C-8B0911FFCB12}" srcOrd="0" destOrd="1" presId="urn:microsoft.com/office/officeart/2005/8/layout/vList5"/>
    <dgm:cxn modelId="{F9E74B76-F3C8-474B-BE2E-672A4119380A}" srcId="{31989D70-38F8-40B4-A5B4-5B64244B04DB}" destId="{07E81225-DE19-4D3E-99CD-FC123A33837F}" srcOrd="0" destOrd="0" parTransId="{642D5DAC-991D-456E-978D-DDF8870668E2}" sibTransId="{71EEF2D0-2FC1-4663-8EEF-F8400FED6EFD}"/>
    <dgm:cxn modelId="{6D9D5740-A78E-432A-A19B-79A7629DFBD0}" srcId="{F1A8E0FB-6830-44B9-AD5D-2C6541803F4D}" destId="{8A560357-68DD-41D8-841B-C94F1FF7F8C1}" srcOrd="2" destOrd="0" parTransId="{3BC3B257-E716-47FF-9C4E-A1CCC502A26F}" sibTransId="{0F75D6C4-A5C5-4C0B-A3E7-E1F9127F0B24}"/>
    <dgm:cxn modelId="{DB01149F-013B-4AAC-83B8-EA5A02812FB1}" srcId="{F1A8E0FB-6830-44B9-AD5D-2C6541803F4D}" destId="{6DCAF490-84DF-45AB-95F8-850141BC8BDF}" srcOrd="0" destOrd="0" parTransId="{313354FE-947E-4C91-850E-55158EB5406E}" sibTransId="{263CB43B-A0A5-48BB-9C20-6635267C3C22}"/>
    <dgm:cxn modelId="{E0CB53AF-1846-4839-A817-1BC95F8C73F9}" srcId="{F1A8E0FB-6830-44B9-AD5D-2C6541803F4D}" destId="{FFA8810D-171E-4ADC-9CA8-AD57E9D504B9}" srcOrd="1" destOrd="0" parTransId="{5D65951A-CE03-4794-9B2D-0A910A6F7FFB}" sibTransId="{39C8D19E-6ADE-404A-843B-5F7020E72704}"/>
    <dgm:cxn modelId="{0E99CA05-F61F-4393-A01F-8CCEDBA18F50}" srcId="{75DF6D0E-EF2D-4899-8D56-11F561E3DB25}" destId="{22DA92B9-9C40-4A25-8285-966799791BE7}" srcOrd="2" destOrd="0" parTransId="{31A0D76F-F3CA-4A56-BA36-A4E6E0932F46}" sibTransId="{C2D43770-B53D-4E3F-BFD7-DA47BF161F8F}"/>
    <dgm:cxn modelId="{F6DB5C63-69FA-4FC9-BB9C-7D6AEF8B14EB}" type="presOf" srcId="{EFB0480E-A451-4750-9076-B8DA17ACD683}" destId="{EF322D6C-1CB6-431F-8B42-A64D898D2824}" srcOrd="0" destOrd="1" presId="urn:microsoft.com/office/officeart/2005/8/layout/vList5"/>
    <dgm:cxn modelId="{BEEC91A6-BF3F-4E21-859A-6D47ACAB8869}" srcId="{A6842990-62A4-4545-B120-1F8AF25A0D6E}" destId="{D66E06A0-8A7E-4EC6-8113-DDE9A8B91FA6}" srcOrd="2" destOrd="0" parTransId="{C867E6D7-68AF-43C6-9E80-BCCDD787550D}" sibTransId="{4B0A02DB-F299-4AF6-A72B-B326FF7FE0BF}"/>
    <dgm:cxn modelId="{9197056C-C44F-4A04-AEB6-8E23C28CFBCA}" type="presOf" srcId="{D66E06A0-8A7E-4EC6-8113-DDE9A8B91FA6}" destId="{D8CBC06D-2193-488F-8EDE-5FAA991E0B6B}" srcOrd="0" destOrd="0" presId="urn:microsoft.com/office/officeart/2005/8/layout/vList5"/>
    <dgm:cxn modelId="{9324FDFF-96EF-4D6F-B059-8A767EA02701}" type="presOf" srcId="{051E23BA-27D6-402B-8FD0-643279078F48}" destId="{E36319A3-4DDD-4596-A48B-3AFC2FB82E08}" srcOrd="0" destOrd="1" presId="urn:microsoft.com/office/officeart/2005/8/layout/vList5"/>
    <dgm:cxn modelId="{61EC2C2C-336E-4152-BF38-E133255426BA}" srcId="{D66E06A0-8A7E-4EC6-8113-DDE9A8B91FA6}" destId="{E08D914F-4215-41A4-8173-F3CBF316F76B}" srcOrd="0" destOrd="0" parTransId="{6E6AFD42-BD05-4248-B472-1EFABC017324}" sibTransId="{1759AAC5-ADE9-4C55-8CBC-F1BA87C7A449}"/>
    <dgm:cxn modelId="{B844C6F1-2818-4F3A-97BB-A513A7A6487D}" srcId="{0FF8BA2A-500B-413D-8B7A-0FD72A53075A}" destId="{8589F281-C004-49C2-9A17-144391E503DE}" srcOrd="0" destOrd="0" parTransId="{68ACA663-A4B5-4322-A79B-E6FDA765E412}" sibTransId="{C3FF912E-6EAA-40C0-8E91-AAAED8175040}"/>
    <dgm:cxn modelId="{A7498686-3363-4727-9125-3753C7FB4287}" type="presOf" srcId="{A6842990-62A4-4545-B120-1F8AF25A0D6E}" destId="{C5ED45AB-5708-4618-8F2A-585D84BC9EAD}" srcOrd="0" destOrd="0" presId="urn:microsoft.com/office/officeart/2005/8/layout/vList5"/>
    <dgm:cxn modelId="{F4DF8B2E-967B-4C23-9FF5-BB008183100C}" type="presOf" srcId="{F1A8E0FB-6830-44B9-AD5D-2C6541803F4D}" destId="{3E606814-09D9-4B4C-8F40-66F312978EEB}" srcOrd="0" destOrd="0" presId="urn:microsoft.com/office/officeart/2005/8/layout/vList5"/>
    <dgm:cxn modelId="{ACACF1CD-A9C0-4633-8495-72FF45057E3A}" type="presOf" srcId="{7C9DA717-4609-4F35-9627-FBCE587B2E07}" destId="{43C6ABD0-F64A-458E-8A26-0D837897DC64}" srcOrd="0" destOrd="1" presId="urn:microsoft.com/office/officeart/2005/8/layout/vList5"/>
    <dgm:cxn modelId="{991DC740-DAA8-4D0F-9BAB-A0D216E7CC9C}" srcId="{A6842990-62A4-4545-B120-1F8AF25A0D6E}" destId="{31989D70-38F8-40B4-A5B4-5B64244B04DB}" srcOrd="3" destOrd="0" parTransId="{E572721F-5C44-451C-B622-59B69949FB6F}" sibTransId="{FF3730C5-5E1C-4ACF-986C-1F8BDC2A87DC}"/>
    <dgm:cxn modelId="{A346880C-19BB-492E-86E8-A5888A7956E2}" srcId="{A6842990-62A4-4545-B120-1F8AF25A0D6E}" destId="{0FF8BA2A-500B-413D-8B7A-0FD72A53075A}" srcOrd="0" destOrd="0" parTransId="{A445CB5E-895F-4150-B184-2C8283752FC5}" sibTransId="{F4903262-3BB8-4A76-A3AA-54C0993BC220}"/>
    <dgm:cxn modelId="{FC9795E3-DBDF-499A-B2B6-4B8E6CA578BE}" type="presOf" srcId="{E08D914F-4215-41A4-8173-F3CBF316F76B}" destId="{EF322D6C-1CB6-431F-8B42-A64D898D2824}" srcOrd="0" destOrd="0" presId="urn:microsoft.com/office/officeart/2005/8/layout/vList5"/>
    <dgm:cxn modelId="{6D864F09-96B6-4444-95BB-D36241D055AD}" srcId="{A6842990-62A4-4545-B120-1F8AF25A0D6E}" destId="{75DF6D0E-EF2D-4899-8D56-11F561E3DB25}" srcOrd="4" destOrd="0" parTransId="{510C85D3-5932-4392-B61F-F44832C002FA}" sibTransId="{EEE1824F-AA0C-4316-B13D-ED5B6C4A0BFF}"/>
    <dgm:cxn modelId="{D9C32539-B0FF-4269-910E-8E2F3FB2481A}" type="presOf" srcId="{6DCAF490-84DF-45AB-95F8-850141BC8BDF}" destId="{B35FD520-5FF0-41BD-887C-8B0911FFCB12}" srcOrd="0" destOrd="0" presId="urn:microsoft.com/office/officeart/2005/8/layout/vList5"/>
    <dgm:cxn modelId="{66A8234E-E4C2-45FA-965B-ECB6FD1A9659}" type="presOf" srcId="{0EBDD81E-61F5-4638-8D23-E64C5784A7CF}" destId="{E36319A3-4DDD-4596-A48B-3AFC2FB82E08}" srcOrd="0" destOrd="0" presId="urn:microsoft.com/office/officeart/2005/8/layout/vList5"/>
    <dgm:cxn modelId="{9D250ACB-3782-4169-9513-D5939A72E14C}" srcId="{75DF6D0E-EF2D-4899-8D56-11F561E3DB25}" destId="{051E23BA-27D6-402B-8FD0-643279078F48}" srcOrd="1" destOrd="0" parTransId="{DA361144-F3E9-4156-9CC2-FE98E458196C}" sibTransId="{AE55AD9A-A016-48D5-8B34-AF4339F64545}"/>
    <dgm:cxn modelId="{0652195D-79AA-41CB-A507-64DF25821FDC}" srcId="{75DF6D0E-EF2D-4899-8D56-11F561E3DB25}" destId="{0EBDD81E-61F5-4638-8D23-E64C5784A7CF}" srcOrd="0" destOrd="0" parTransId="{5BB68B6B-2470-4B4F-B825-03319C46AB79}" sibTransId="{91158606-88ED-478A-99A3-FF66895B49FF}"/>
    <dgm:cxn modelId="{DA864F5A-43C0-4EAB-ACD8-C653DCDBC285}" srcId="{A6842990-62A4-4545-B120-1F8AF25A0D6E}" destId="{F1A8E0FB-6830-44B9-AD5D-2C6541803F4D}" srcOrd="1" destOrd="0" parTransId="{BA9882FF-0D62-440B-AE35-07B5440B7352}" sibTransId="{BE3BCC92-A824-45B0-AD74-589AA75A91ED}"/>
    <dgm:cxn modelId="{78B26055-4003-4B61-B1A2-86AC6919F907}" type="presOf" srcId="{22DA92B9-9C40-4A25-8285-966799791BE7}" destId="{E36319A3-4DDD-4596-A48B-3AFC2FB82E08}" srcOrd="0" destOrd="2" presId="urn:microsoft.com/office/officeart/2005/8/layout/vList5"/>
    <dgm:cxn modelId="{A345E6FB-E582-491A-BAAE-F2A1141E8D26}" type="presOf" srcId="{0FF8BA2A-500B-413D-8B7A-0FD72A53075A}" destId="{FCE31E78-3DAC-4692-A464-D0C835B3F5C0}" srcOrd="0" destOrd="0" presId="urn:microsoft.com/office/officeart/2005/8/layout/vList5"/>
    <dgm:cxn modelId="{F0686254-8BC6-438F-8EFC-387D3C1B4582}" srcId="{D66E06A0-8A7E-4EC6-8113-DDE9A8B91FA6}" destId="{EFB0480E-A451-4750-9076-B8DA17ACD683}" srcOrd="1" destOrd="0" parTransId="{02255FE4-1BB8-44C8-8FC3-2DB4276D8435}" sibTransId="{7ECF0E78-DA31-4B08-B8BA-D36DB4135973}"/>
    <dgm:cxn modelId="{2F1976CB-BC7D-4DA6-86B6-A03B32E37FD5}" type="presParOf" srcId="{C5ED45AB-5708-4618-8F2A-585D84BC9EAD}" destId="{210816C1-7BD4-4E1F-9BAF-45430065939E}" srcOrd="0" destOrd="0" presId="urn:microsoft.com/office/officeart/2005/8/layout/vList5"/>
    <dgm:cxn modelId="{E698788D-62E0-4A5C-AADF-1FCEDABB06F8}" type="presParOf" srcId="{210816C1-7BD4-4E1F-9BAF-45430065939E}" destId="{FCE31E78-3DAC-4692-A464-D0C835B3F5C0}" srcOrd="0" destOrd="0" presId="urn:microsoft.com/office/officeart/2005/8/layout/vList5"/>
    <dgm:cxn modelId="{5008CCE3-5624-4055-8ECB-E1C45F2FC429}" type="presParOf" srcId="{210816C1-7BD4-4E1F-9BAF-45430065939E}" destId="{43C6ABD0-F64A-458E-8A26-0D837897DC64}" srcOrd="1" destOrd="0" presId="urn:microsoft.com/office/officeart/2005/8/layout/vList5"/>
    <dgm:cxn modelId="{11422C3C-6E2E-430C-8EA1-30E68421B754}" type="presParOf" srcId="{C5ED45AB-5708-4618-8F2A-585D84BC9EAD}" destId="{46882EB6-A3B5-4F96-AFCB-DD20C8B79C51}" srcOrd="1" destOrd="0" presId="urn:microsoft.com/office/officeart/2005/8/layout/vList5"/>
    <dgm:cxn modelId="{C20AF965-3917-410C-9749-F7A8FAFC99DD}" type="presParOf" srcId="{C5ED45AB-5708-4618-8F2A-585D84BC9EAD}" destId="{778044F5-F603-40D5-9552-BC7E2EC9D884}" srcOrd="2" destOrd="0" presId="urn:microsoft.com/office/officeart/2005/8/layout/vList5"/>
    <dgm:cxn modelId="{297A61BB-27BA-4919-9698-81450C24751F}" type="presParOf" srcId="{778044F5-F603-40D5-9552-BC7E2EC9D884}" destId="{3E606814-09D9-4B4C-8F40-66F312978EEB}" srcOrd="0" destOrd="0" presId="urn:microsoft.com/office/officeart/2005/8/layout/vList5"/>
    <dgm:cxn modelId="{4C07501A-F090-416D-AB0E-FAE740A972E5}" type="presParOf" srcId="{778044F5-F603-40D5-9552-BC7E2EC9D884}" destId="{B35FD520-5FF0-41BD-887C-8B0911FFCB12}" srcOrd="1" destOrd="0" presId="urn:microsoft.com/office/officeart/2005/8/layout/vList5"/>
    <dgm:cxn modelId="{8FB1101D-9210-44A9-9070-01AD48AA58B2}" type="presParOf" srcId="{C5ED45AB-5708-4618-8F2A-585D84BC9EAD}" destId="{D5C5E9EF-7F27-4FF7-8CAB-C92EA47DC3D6}" srcOrd="3" destOrd="0" presId="urn:microsoft.com/office/officeart/2005/8/layout/vList5"/>
    <dgm:cxn modelId="{3D6A8236-A2B0-4615-B5D0-368B9FF88250}" type="presParOf" srcId="{C5ED45AB-5708-4618-8F2A-585D84BC9EAD}" destId="{72C8B641-2F72-485E-A0ED-A940665DEF29}" srcOrd="4" destOrd="0" presId="urn:microsoft.com/office/officeart/2005/8/layout/vList5"/>
    <dgm:cxn modelId="{D1C48279-0AF9-4596-BAEC-49E72111F6C4}" type="presParOf" srcId="{72C8B641-2F72-485E-A0ED-A940665DEF29}" destId="{D8CBC06D-2193-488F-8EDE-5FAA991E0B6B}" srcOrd="0" destOrd="0" presId="urn:microsoft.com/office/officeart/2005/8/layout/vList5"/>
    <dgm:cxn modelId="{0BC32397-2FB7-49D2-BC25-A542222DD313}" type="presParOf" srcId="{72C8B641-2F72-485E-A0ED-A940665DEF29}" destId="{EF322D6C-1CB6-431F-8B42-A64D898D2824}" srcOrd="1" destOrd="0" presId="urn:microsoft.com/office/officeart/2005/8/layout/vList5"/>
    <dgm:cxn modelId="{8C1C9115-6119-4576-BFE8-B6AA6C6D8DCC}" type="presParOf" srcId="{C5ED45AB-5708-4618-8F2A-585D84BC9EAD}" destId="{5D027A10-F74F-4727-9E3F-6EEA93EE4288}" srcOrd="5" destOrd="0" presId="urn:microsoft.com/office/officeart/2005/8/layout/vList5"/>
    <dgm:cxn modelId="{E8B60839-2D0A-46FD-B7B3-CB0534CAD332}" type="presParOf" srcId="{C5ED45AB-5708-4618-8F2A-585D84BC9EAD}" destId="{6D857F1D-1E3D-4FB8-9D34-97C6D4E649D1}" srcOrd="6" destOrd="0" presId="urn:microsoft.com/office/officeart/2005/8/layout/vList5"/>
    <dgm:cxn modelId="{F1C38C85-3FE2-4B55-8A20-DCB544325FBA}" type="presParOf" srcId="{6D857F1D-1E3D-4FB8-9D34-97C6D4E649D1}" destId="{C971C0CD-D6D6-4BD2-B517-483DD2B85EA0}" srcOrd="0" destOrd="0" presId="urn:microsoft.com/office/officeart/2005/8/layout/vList5"/>
    <dgm:cxn modelId="{FB5FBDE6-A25F-4FE7-92F0-F85C5D5107B8}" type="presParOf" srcId="{6D857F1D-1E3D-4FB8-9D34-97C6D4E649D1}" destId="{DE1FE771-1582-4775-9E8F-B758D933162D}" srcOrd="1" destOrd="0" presId="urn:microsoft.com/office/officeart/2005/8/layout/vList5"/>
    <dgm:cxn modelId="{D8508C71-8FC4-49EA-ABAF-243697A1F1A5}" type="presParOf" srcId="{C5ED45AB-5708-4618-8F2A-585D84BC9EAD}" destId="{396899F4-452F-4C21-9308-1A185EB0D170}" srcOrd="7" destOrd="0" presId="urn:microsoft.com/office/officeart/2005/8/layout/vList5"/>
    <dgm:cxn modelId="{949A2025-D75C-40C7-B054-44555E39521A}" type="presParOf" srcId="{C5ED45AB-5708-4618-8F2A-585D84BC9EAD}" destId="{0B8CE6DB-5E88-49FA-A351-9AFC9ADFC256}" srcOrd="8" destOrd="0" presId="urn:microsoft.com/office/officeart/2005/8/layout/vList5"/>
    <dgm:cxn modelId="{EFA21BC0-9B75-4730-BB37-8235ABAC5898}" type="presParOf" srcId="{0B8CE6DB-5E88-49FA-A351-9AFC9ADFC256}" destId="{C5DBDEB5-64EF-486D-ADE8-9AD2774135B2}" srcOrd="0" destOrd="0" presId="urn:microsoft.com/office/officeart/2005/8/layout/vList5"/>
    <dgm:cxn modelId="{77F24D8C-C5D4-4F16-8F89-84338867327E}" type="presParOf" srcId="{0B8CE6DB-5E88-49FA-A351-9AFC9ADFC256}" destId="{E36319A3-4DDD-4596-A48B-3AFC2FB82E0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A69A69-DF68-414D-8EA4-5B891DFFA5AF}" type="doc">
      <dgm:prSet loTypeId="urn:microsoft.com/office/officeart/2005/8/layout/vList4" loCatId="list" qsTypeId="urn:microsoft.com/office/officeart/2005/8/quickstyle/simple1" qsCatId="simple" csTypeId="urn:microsoft.com/office/officeart/2005/8/colors/accent0_3" csCatId="mainScheme" phldr="1"/>
      <dgm:spPr/>
      <dgm:t>
        <a:bodyPr/>
        <a:lstStyle/>
        <a:p>
          <a:endParaRPr lang="en-US"/>
        </a:p>
      </dgm:t>
    </dgm:pt>
    <dgm:pt modelId="{01BDD74D-C028-4813-9A40-60C9E2F57DB0}">
      <dgm:prSet phldrT="[Text]"/>
      <dgm:spPr/>
      <dgm:t>
        <a:bodyPr/>
        <a:lstStyle/>
        <a:p>
          <a:r>
            <a:rPr lang="en-US" dirty="0">
              <a:latin typeface="+mj-lt"/>
            </a:rPr>
            <a:t>Cortana, Cognitive Services, Bot Framework</a:t>
          </a:r>
        </a:p>
      </dgm:t>
    </dgm:pt>
    <dgm:pt modelId="{B1B801B5-C3BE-4F62-9805-943F9ECCC34B}" type="parTrans" cxnId="{E9CD9087-4D76-4DCC-976E-CEF58E4BDA7B}">
      <dgm:prSet/>
      <dgm:spPr/>
      <dgm:t>
        <a:bodyPr/>
        <a:lstStyle/>
        <a:p>
          <a:endParaRPr lang="en-US">
            <a:latin typeface="+mj-lt"/>
          </a:endParaRPr>
        </a:p>
      </dgm:t>
    </dgm:pt>
    <dgm:pt modelId="{F35B3DDF-F275-4912-BB0B-8814AF11EBD0}" type="sibTrans" cxnId="{E9CD9087-4D76-4DCC-976E-CEF58E4BDA7B}">
      <dgm:prSet/>
      <dgm:spPr/>
      <dgm:t>
        <a:bodyPr/>
        <a:lstStyle/>
        <a:p>
          <a:endParaRPr lang="en-US">
            <a:latin typeface="+mj-lt"/>
          </a:endParaRPr>
        </a:p>
      </dgm:t>
    </dgm:pt>
    <dgm:pt modelId="{B1A5E10D-28EF-4A53-BB42-ADFCEDD33914}">
      <dgm:prSet phldrT="[Text]"/>
      <dgm:spPr/>
      <dgm:t>
        <a:bodyPr/>
        <a:lstStyle/>
        <a:p>
          <a:r>
            <a:rPr lang="en-US" dirty="0">
              <a:latin typeface="+mj-lt"/>
            </a:rPr>
            <a:t>Power BI</a:t>
          </a:r>
        </a:p>
      </dgm:t>
    </dgm:pt>
    <dgm:pt modelId="{4330C9E9-E525-4CE3-8D83-79DC3A7B548F}" type="parTrans" cxnId="{6C569132-71B0-4D77-BA25-C5457021688A}">
      <dgm:prSet/>
      <dgm:spPr/>
      <dgm:t>
        <a:bodyPr/>
        <a:lstStyle/>
        <a:p>
          <a:endParaRPr lang="en-US">
            <a:latin typeface="+mj-lt"/>
          </a:endParaRPr>
        </a:p>
      </dgm:t>
    </dgm:pt>
    <dgm:pt modelId="{EE6CE372-F5B4-4C65-BB47-2D0CBB1D465F}" type="sibTrans" cxnId="{6C569132-71B0-4D77-BA25-C5457021688A}">
      <dgm:prSet/>
      <dgm:spPr/>
      <dgm:t>
        <a:bodyPr/>
        <a:lstStyle/>
        <a:p>
          <a:endParaRPr lang="en-US">
            <a:latin typeface="+mj-lt"/>
          </a:endParaRPr>
        </a:p>
      </dgm:t>
    </dgm:pt>
    <dgm:pt modelId="{EA167186-6F53-4DC7-A045-E6417D37BF33}">
      <dgm:prSet phldrT="[Text]"/>
      <dgm:spPr/>
      <dgm:t>
        <a:bodyPr/>
        <a:lstStyle/>
        <a:p>
          <a:r>
            <a:rPr lang="en-US" dirty="0">
              <a:latin typeface="+mj-lt"/>
            </a:rPr>
            <a:t>HDInsight</a:t>
          </a:r>
        </a:p>
      </dgm:t>
    </dgm:pt>
    <dgm:pt modelId="{AA45AC8D-893E-49DB-8316-613BBB5646B5}" type="parTrans" cxnId="{8A6687E5-21B2-435D-B10C-332268480112}">
      <dgm:prSet/>
      <dgm:spPr/>
      <dgm:t>
        <a:bodyPr/>
        <a:lstStyle/>
        <a:p>
          <a:endParaRPr lang="en-US">
            <a:latin typeface="+mj-lt"/>
          </a:endParaRPr>
        </a:p>
      </dgm:t>
    </dgm:pt>
    <dgm:pt modelId="{9FE0364B-209B-4506-9049-4401EA19AFBC}" type="sibTrans" cxnId="{8A6687E5-21B2-435D-B10C-332268480112}">
      <dgm:prSet/>
      <dgm:spPr/>
      <dgm:t>
        <a:bodyPr/>
        <a:lstStyle/>
        <a:p>
          <a:endParaRPr lang="en-US">
            <a:latin typeface="+mj-lt"/>
          </a:endParaRPr>
        </a:p>
      </dgm:t>
    </dgm:pt>
    <dgm:pt modelId="{AB393BA1-5855-49E3-9B86-59C4B29CEA69}">
      <dgm:prSet phldrT="[Text]"/>
      <dgm:spPr/>
      <dgm:t>
        <a:bodyPr/>
        <a:lstStyle/>
        <a:p>
          <a:r>
            <a:rPr lang="en-US" dirty="0">
              <a:latin typeface="+mj-lt"/>
            </a:rPr>
            <a:t>Stream Analytics</a:t>
          </a:r>
        </a:p>
      </dgm:t>
    </dgm:pt>
    <dgm:pt modelId="{FB136A78-F087-494B-A4DD-4AF3EF01BF04}" type="parTrans" cxnId="{F3ED81DC-2C51-47EE-A31F-B6E976CD6458}">
      <dgm:prSet/>
      <dgm:spPr/>
      <dgm:t>
        <a:bodyPr/>
        <a:lstStyle/>
        <a:p>
          <a:endParaRPr lang="en-US">
            <a:latin typeface="+mj-lt"/>
          </a:endParaRPr>
        </a:p>
      </dgm:t>
    </dgm:pt>
    <dgm:pt modelId="{CFE1A1C0-1939-44E8-B395-EE878B1AED03}" type="sibTrans" cxnId="{F3ED81DC-2C51-47EE-A31F-B6E976CD6458}">
      <dgm:prSet/>
      <dgm:spPr/>
      <dgm:t>
        <a:bodyPr/>
        <a:lstStyle/>
        <a:p>
          <a:endParaRPr lang="en-US">
            <a:latin typeface="+mj-lt"/>
          </a:endParaRPr>
        </a:p>
      </dgm:t>
    </dgm:pt>
    <dgm:pt modelId="{CE92E143-7827-4B23-958C-F5E2952926EC}">
      <dgm:prSet phldrT="[Text]"/>
      <dgm:spPr/>
      <dgm:t>
        <a:bodyPr/>
        <a:lstStyle/>
        <a:p>
          <a:r>
            <a:rPr lang="en-US" dirty="0">
              <a:latin typeface="+mj-lt"/>
            </a:rPr>
            <a:t>Azure Machine Learning (MRS)</a:t>
          </a:r>
        </a:p>
      </dgm:t>
    </dgm:pt>
    <dgm:pt modelId="{C4D32C04-360F-4F8D-8B67-B5640F4A6D8F}" type="parTrans" cxnId="{047C46A9-F2CD-4146-951F-467E5F8CB8ED}">
      <dgm:prSet/>
      <dgm:spPr/>
      <dgm:t>
        <a:bodyPr/>
        <a:lstStyle/>
        <a:p>
          <a:endParaRPr lang="en-US">
            <a:latin typeface="+mj-lt"/>
          </a:endParaRPr>
        </a:p>
      </dgm:t>
    </dgm:pt>
    <dgm:pt modelId="{9E9FB500-C656-4896-8D25-03917B48704C}" type="sibTrans" cxnId="{047C46A9-F2CD-4146-951F-467E5F8CB8ED}">
      <dgm:prSet/>
      <dgm:spPr/>
      <dgm:t>
        <a:bodyPr/>
        <a:lstStyle/>
        <a:p>
          <a:endParaRPr lang="en-US">
            <a:latin typeface="+mj-lt"/>
          </a:endParaRPr>
        </a:p>
      </dgm:t>
    </dgm:pt>
    <dgm:pt modelId="{011E79D2-CE12-4ACC-B4D0-D9E003466911}">
      <dgm:prSet phldrT="[Text]"/>
      <dgm:spPr/>
      <dgm:t>
        <a:bodyPr/>
        <a:lstStyle/>
        <a:p>
          <a:r>
            <a:rPr lang="en-US" dirty="0">
              <a:latin typeface="+mj-lt"/>
            </a:rPr>
            <a:t>SQL Data Warehouse (SQL DB, Document DB)</a:t>
          </a:r>
        </a:p>
      </dgm:t>
    </dgm:pt>
    <dgm:pt modelId="{29814D48-68C9-4F1B-A742-4632C8E2EA9C}" type="parTrans" cxnId="{F7E6D72A-5B0B-4536-9DE8-41E4810247B9}">
      <dgm:prSet/>
      <dgm:spPr/>
      <dgm:t>
        <a:bodyPr/>
        <a:lstStyle/>
        <a:p>
          <a:endParaRPr lang="en-US">
            <a:latin typeface="+mj-lt"/>
          </a:endParaRPr>
        </a:p>
      </dgm:t>
    </dgm:pt>
    <dgm:pt modelId="{46FBF3BF-5D0C-4A35-BF9D-1D6E2F785FEA}" type="sibTrans" cxnId="{F7E6D72A-5B0B-4536-9DE8-41E4810247B9}">
      <dgm:prSet/>
      <dgm:spPr/>
      <dgm:t>
        <a:bodyPr/>
        <a:lstStyle/>
        <a:p>
          <a:endParaRPr lang="en-US">
            <a:latin typeface="+mj-lt"/>
          </a:endParaRPr>
        </a:p>
      </dgm:t>
    </dgm:pt>
    <dgm:pt modelId="{A7635277-B6AF-417B-AB49-E517FD333C49}">
      <dgm:prSet phldrT="[Text]"/>
      <dgm:spPr/>
      <dgm:t>
        <a:bodyPr/>
        <a:lstStyle/>
        <a:p>
          <a:r>
            <a:rPr lang="en-US" dirty="0">
              <a:latin typeface="+mj-lt"/>
            </a:rPr>
            <a:t>Data Lake</a:t>
          </a:r>
        </a:p>
      </dgm:t>
    </dgm:pt>
    <dgm:pt modelId="{C477E470-852C-42A8-B063-8341FC3C990C}" type="parTrans" cxnId="{876943E5-6311-4C46-B02D-095CFB15C899}">
      <dgm:prSet/>
      <dgm:spPr/>
      <dgm:t>
        <a:bodyPr/>
        <a:lstStyle/>
        <a:p>
          <a:endParaRPr lang="en-US">
            <a:latin typeface="+mj-lt"/>
          </a:endParaRPr>
        </a:p>
      </dgm:t>
    </dgm:pt>
    <dgm:pt modelId="{71F53B31-01A5-4EDB-848A-6A0AD6C5A84A}" type="sibTrans" cxnId="{876943E5-6311-4C46-B02D-095CFB15C899}">
      <dgm:prSet/>
      <dgm:spPr/>
      <dgm:t>
        <a:bodyPr/>
        <a:lstStyle/>
        <a:p>
          <a:endParaRPr lang="en-US">
            <a:latin typeface="+mj-lt"/>
          </a:endParaRPr>
        </a:p>
      </dgm:t>
    </dgm:pt>
    <dgm:pt modelId="{C693AF90-2E67-4389-9BB6-C5D2CAEEC1FF}">
      <dgm:prSet phldrT="[Text]"/>
      <dgm:spPr/>
      <dgm:t>
        <a:bodyPr/>
        <a:lstStyle/>
        <a:p>
          <a:r>
            <a:rPr lang="en-US" dirty="0">
              <a:latin typeface="+mj-lt"/>
            </a:rPr>
            <a:t>Event Hubs</a:t>
          </a:r>
        </a:p>
      </dgm:t>
    </dgm:pt>
    <dgm:pt modelId="{00079A4F-B938-401D-9474-8F2025C874A4}" type="parTrans" cxnId="{C1692AC0-BA0F-45DE-B396-12372577650D}">
      <dgm:prSet/>
      <dgm:spPr/>
      <dgm:t>
        <a:bodyPr/>
        <a:lstStyle/>
        <a:p>
          <a:endParaRPr lang="en-US">
            <a:latin typeface="+mj-lt"/>
          </a:endParaRPr>
        </a:p>
      </dgm:t>
    </dgm:pt>
    <dgm:pt modelId="{D443B56A-500B-4402-B1F6-0F52B8475755}" type="sibTrans" cxnId="{C1692AC0-BA0F-45DE-B396-12372577650D}">
      <dgm:prSet/>
      <dgm:spPr/>
      <dgm:t>
        <a:bodyPr/>
        <a:lstStyle/>
        <a:p>
          <a:endParaRPr lang="en-US">
            <a:latin typeface="+mj-lt"/>
          </a:endParaRPr>
        </a:p>
      </dgm:t>
    </dgm:pt>
    <dgm:pt modelId="{64841DF3-12D3-4C8A-A2EA-2845EC9F38D7}">
      <dgm:prSet phldrT="[Text]"/>
      <dgm:spPr/>
      <dgm:t>
        <a:bodyPr/>
        <a:lstStyle/>
        <a:p>
          <a:r>
            <a:rPr lang="en-US" dirty="0">
              <a:latin typeface="+mj-lt"/>
            </a:rPr>
            <a:t>Data Factory</a:t>
          </a:r>
        </a:p>
      </dgm:t>
    </dgm:pt>
    <dgm:pt modelId="{A9E857A5-108E-46DC-B1FD-F3877D7A6824}" type="parTrans" cxnId="{48C0D9DC-8DEF-4A18-A0E2-0A591D1D23D4}">
      <dgm:prSet/>
      <dgm:spPr/>
      <dgm:t>
        <a:bodyPr/>
        <a:lstStyle/>
        <a:p>
          <a:endParaRPr lang="en-US">
            <a:latin typeface="+mj-lt"/>
          </a:endParaRPr>
        </a:p>
      </dgm:t>
    </dgm:pt>
    <dgm:pt modelId="{063C695B-C458-492E-9DD8-8C80EDD037E4}" type="sibTrans" cxnId="{48C0D9DC-8DEF-4A18-A0E2-0A591D1D23D4}">
      <dgm:prSet/>
      <dgm:spPr/>
      <dgm:t>
        <a:bodyPr/>
        <a:lstStyle/>
        <a:p>
          <a:endParaRPr lang="en-US">
            <a:latin typeface="+mj-lt"/>
          </a:endParaRPr>
        </a:p>
      </dgm:t>
    </dgm:pt>
    <dgm:pt modelId="{F29A499B-128E-4ED9-A5CE-D3EC6833A092}">
      <dgm:prSet phldrT="[Text]"/>
      <dgm:spPr/>
      <dgm:t>
        <a:bodyPr/>
        <a:lstStyle/>
        <a:p>
          <a:r>
            <a:rPr lang="en-US" dirty="0">
              <a:latin typeface="+mj-lt"/>
            </a:rPr>
            <a:t>Data Catalog</a:t>
          </a:r>
        </a:p>
      </dgm:t>
    </dgm:pt>
    <dgm:pt modelId="{CDD56826-666D-4326-B961-511482B1AE98}" type="parTrans" cxnId="{201FA9D4-3A6B-489F-B035-67218D0EF8D5}">
      <dgm:prSet/>
      <dgm:spPr/>
      <dgm:t>
        <a:bodyPr/>
        <a:lstStyle/>
        <a:p>
          <a:endParaRPr lang="en-US">
            <a:latin typeface="+mj-lt"/>
          </a:endParaRPr>
        </a:p>
      </dgm:t>
    </dgm:pt>
    <dgm:pt modelId="{34E1B6F7-AFA1-45F6-B66D-CE24B6F4F3E6}" type="sibTrans" cxnId="{201FA9D4-3A6B-489F-B035-67218D0EF8D5}">
      <dgm:prSet/>
      <dgm:spPr/>
      <dgm:t>
        <a:bodyPr/>
        <a:lstStyle/>
        <a:p>
          <a:endParaRPr lang="en-US">
            <a:latin typeface="+mj-lt"/>
          </a:endParaRPr>
        </a:p>
      </dgm:t>
    </dgm:pt>
    <dgm:pt modelId="{87EED9D7-F903-415E-8AD5-FBB20E57F17C}">
      <dgm:prSet phldrT="[Text]"/>
      <dgm:spPr/>
      <dgm:t>
        <a:bodyPr/>
        <a:lstStyle/>
        <a:p>
          <a:r>
            <a:rPr lang="en-US" dirty="0">
              <a:latin typeface="+mj-lt"/>
            </a:rPr>
            <a:t>Microsoft Azure</a:t>
          </a:r>
        </a:p>
      </dgm:t>
    </dgm:pt>
    <dgm:pt modelId="{9CF7ABFF-4CAE-47CB-923D-1BC6D6E97E96}" type="parTrans" cxnId="{DB6381F9-22D0-4EC2-89ED-F9723FBC122B}">
      <dgm:prSet/>
      <dgm:spPr/>
      <dgm:t>
        <a:bodyPr/>
        <a:lstStyle/>
        <a:p>
          <a:endParaRPr lang="en-US">
            <a:latin typeface="+mj-lt"/>
          </a:endParaRPr>
        </a:p>
      </dgm:t>
    </dgm:pt>
    <dgm:pt modelId="{845A9F58-8459-4120-83F7-C236F902D2A4}" type="sibTrans" cxnId="{DB6381F9-22D0-4EC2-89ED-F9723FBC122B}">
      <dgm:prSet/>
      <dgm:spPr/>
      <dgm:t>
        <a:bodyPr/>
        <a:lstStyle/>
        <a:p>
          <a:endParaRPr lang="en-US">
            <a:latin typeface="+mj-lt"/>
          </a:endParaRPr>
        </a:p>
      </dgm:t>
    </dgm:pt>
    <dgm:pt modelId="{3245D8A3-8E5E-4370-9560-7D50F08D1AAC}" type="pres">
      <dgm:prSet presAssocID="{8DA69A69-DF68-414D-8EA4-5B891DFFA5AF}" presName="linear" presStyleCnt="0">
        <dgm:presLayoutVars>
          <dgm:dir/>
          <dgm:resizeHandles val="exact"/>
        </dgm:presLayoutVars>
      </dgm:prSet>
      <dgm:spPr/>
    </dgm:pt>
    <dgm:pt modelId="{591064D2-3FD8-4EBB-A7F6-6190915D84B9}" type="pres">
      <dgm:prSet presAssocID="{01BDD74D-C028-4813-9A40-60C9E2F57DB0}" presName="comp" presStyleCnt="0"/>
      <dgm:spPr/>
    </dgm:pt>
    <dgm:pt modelId="{38C1AABC-2A80-4D18-AB70-CD76795B5F08}" type="pres">
      <dgm:prSet presAssocID="{01BDD74D-C028-4813-9A40-60C9E2F57DB0}" presName="box" presStyleLbl="node1" presStyleIdx="0" presStyleCnt="11"/>
      <dgm:spPr/>
    </dgm:pt>
    <dgm:pt modelId="{36A321AB-B414-459A-92C0-C559ED15EF30}" type="pres">
      <dgm:prSet presAssocID="{01BDD74D-C028-4813-9A40-60C9E2F57DB0}" presName="img" presStyleLbl="fgImgPlace1" presStyleIdx="0" presStyleCnt="11" custScaleX="60155" custLinFactNeighborX="-20488" custLinFactNeighborY="-537"/>
      <dgm:spPr>
        <a:blipFill rotWithShape="1">
          <a:blip xmlns:r="http://schemas.openxmlformats.org/officeDocument/2006/relationships" r:embed="rId1"/>
          <a:stretch>
            <a:fillRect/>
          </a:stretch>
        </a:blipFill>
      </dgm:spPr>
    </dgm:pt>
    <dgm:pt modelId="{28517874-F162-4DF2-9EB3-F83C7A652985}" type="pres">
      <dgm:prSet presAssocID="{01BDD74D-C028-4813-9A40-60C9E2F57DB0}" presName="text" presStyleLbl="node1" presStyleIdx="0" presStyleCnt="11">
        <dgm:presLayoutVars>
          <dgm:bulletEnabled val="1"/>
        </dgm:presLayoutVars>
      </dgm:prSet>
      <dgm:spPr/>
    </dgm:pt>
    <dgm:pt modelId="{792ED8B5-2DD0-439D-81C0-CD908D092B9B}" type="pres">
      <dgm:prSet presAssocID="{F35B3DDF-F275-4912-BB0B-8814AF11EBD0}" presName="spacer" presStyleCnt="0"/>
      <dgm:spPr/>
    </dgm:pt>
    <dgm:pt modelId="{5CCFB758-000F-4683-BD12-C441C92A1487}" type="pres">
      <dgm:prSet presAssocID="{B1A5E10D-28EF-4A53-BB42-ADFCEDD33914}" presName="comp" presStyleCnt="0"/>
      <dgm:spPr/>
    </dgm:pt>
    <dgm:pt modelId="{72FDBD55-6070-4E85-AA3A-6F7522DCF49F}" type="pres">
      <dgm:prSet presAssocID="{B1A5E10D-28EF-4A53-BB42-ADFCEDD33914}" presName="box" presStyleLbl="node1" presStyleIdx="1" presStyleCnt="11"/>
      <dgm:spPr/>
    </dgm:pt>
    <dgm:pt modelId="{49D4FFC3-C990-4FEA-ADFC-9F2B001FE866}" type="pres">
      <dgm:prSet presAssocID="{B1A5E10D-28EF-4A53-BB42-ADFCEDD33914}" presName="img" presStyleLbl="fgImgPlace1" presStyleIdx="1" presStyleCnt="11" custScaleX="60155" custLinFactNeighborX="-20488" custLinFactNeighborY="-537"/>
      <dgm:spPr>
        <a:blipFill rotWithShape="1">
          <a:blip xmlns:r="http://schemas.openxmlformats.org/officeDocument/2006/relationships" r:embed="rId2"/>
          <a:stretch>
            <a:fillRect/>
          </a:stretch>
        </a:blipFill>
      </dgm:spPr>
    </dgm:pt>
    <dgm:pt modelId="{1A6920FE-A97C-4482-AA47-1D4A8C2D730F}" type="pres">
      <dgm:prSet presAssocID="{B1A5E10D-28EF-4A53-BB42-ADFCEDD33914}" presName="text" presStyleLbl="node1" presStyleIdx="1" presStyleCnt="11">
        <dgm:presLayoutVars>
          <dgm:bulletEnabled val="1"/>
        </dgm:presLayoutVars>
      </dgm:prSet>
      <dgm:spPr/>
    </dgm:pt>
    <dgm:pt modelId="{6A8B3FBB-BD6E-4DCA-BA20-9EF9BC5A78D3}" type="pres">
      <dgm:prSet presAssocID="{EE6CE372-F5B4-4C65-BB47-2D0CBB1D465F}" presName="spacer" presStyleCnt="0"/>
      <dgm:spPr/>
    </dgm:pt>
    <dgm:pt modelId="{EA6FEACF-09F4-4CA2-8178-78B09A7EFBBB}" type="pres">
      <dgm:prSet presAssocID="{AB393BA1-5855-49E3-9B86-59C4B29CEA69}" presName="comp" presStyleCnt="0"/>
      <dgm:spPr/>
    </dgm:pt>
    <dgm:pt modelId="{B3A218B0-FF83-4B81-B386-3F5787FB84AE}" type="pres">
      <dgm:prSet presAssocID="{AB393BA1-5855-49E3-9B86-59C4B29CEA69}" presName="box" presStyleLbl="node1" presStyleIdx="2" presStyleCnt="11"/>
      <dgm:spPr/>
    </dgm:pt>
    <dgm:pt modelId="{1DF032E0-13E8-404C-A3CD-F57FFFAF656E}" type="pres">
      <dgm:prSet presAssocID="{AB393BA1-5855-49E3-9B86-59C4B29CEA69}" presName="img" presStyleLbl="fgImgPlace1" presStyleIdx="2" presStyleCnt="11" custScaleX="60155" custLinFactNeighborX="-20488" custLinFactNeighborY="-537"/>
      <dgm:spPr>
        <a:blipFill rotWithShape="1">
          <a:blip xmlns:r="http://schemas.openxmlformats.org/officeDocument/2006/relationships" r:embed="rId3"/>
          <a:stretch>
            <a:fillRect/>
          </a:stretch>
        </a:blipFill>
      </dgm:spPr>
    </dgm:pt>
    <dgm:pt modelId="{9D8C2DA9-47A7-491C-9512-DC63D526E7DA}" type="pres">
      <dgm:prSet presAssocID="{AB393BA1-5855-49E3-9B86-59C4B29CEA69}" presName="text" presStyleLbl="node1" presStyleIdx="2" presStyleCnt="11">
        <dgm:presLayoutVars>
          <dgm:bulletEnabled val="1"/>
        </dgm:presLayoutVars>
      </dgm:prSet>
      <dgm:spPr/>
    </dgm:pt>
    <dgm:pt modelId="{A85F395D-8BD3-45D3-8EFF-7FA6AF594D0F}" type="pres">
      <dgm:prSet presAssocID="{CFE1A1C0-1939-44E8-B395-EE878B1AED03}" presName="spacer" presStyleCnt="0"/>
      <dgm:spPr/>
    </dgm:pt>
    <dgm:pt modelId="{9AB32DE8-9EB7-4A4C-838E-2A0D8828CDAA}" type="pres">
      <dgm:prSet presAssocID="{EA167186-6F53-4DC7-A045-E6417D37BF33}" presName="comp" presStyleCnt="0"/>
      <dgm:spPr/>
    </dgm:pt>
    <dgm:pt modelId="{5B74900C-2DC2-4F9C-83EA-B674B8C455C3}" type="pres">
      <dgm:prSet presAssocID="{EA167186-6F53-4DC7-A045-E6417D37BF33}" presName="box" presStyleLbl="node1" presStyleIdx="3" presStyleCnt="11"/>
      <dgm:spPr/>
    </dgm:pt>
    <dgm:pt modelId="{EB1CC876-66DD-4A75-B47F-79507A427898}" type="pres">
      <dgm:prSet presAssocID="{EA167186-6F53-4DC7-A045-E6417D37BF33}" presName="img" presStyleLbl="fgImgPlace1" presStyleIdx="3" presStyleCnt="11" custScaleX="60155" custLinFactNeighborX="-20488" custLinFactNeighborY="-537"/>
      <dgm:spPr>
        <a:blipFill rotWithShape="1">
          <a:blip xmlns:r="http://schemas.openxmlformats.org/officeDocument/2006/relationships" r:embed="rId4"/>
          <a:stretch>
            <a:fillRect/>
          </a:stretch>
        </a:blipFill>
      </dgm:spPr>
    </dgm:pt>
    <dgm:pt modelId="{D2600429-E556-46F6-80E8-880C4820F655}" type="pres">
      <dgm:prSet presAssocID="{EA167186-6F53-4DC7-A045-E6417D37BF33}" presName="text" presStyleLbl="node1" presStyleIdx="3" presStyleCnt="11">
        <dgm:presLayoutVars>
          <dgm:bulletEnabled val="1"/>
        </dgm:presLayoutVars>
      </dgm:prSet>
      <dgm:spPr/>
    </dgm:pt>
    <dgm:pt modelId="{83EBCC5F-57AF-408C-86D9-F0E2ACBBE12B}" type="pres">
      <dgm:prSet presAssocID="{9FE0364B-209B-4506-9049-4401EA19AFBC}" presName="spacer" presStyleCnt="0"/>
      <dgm:spPr/>
    </dgm:pt>
    <dgm:pt modelId="{D671913D-787A-4165-BF27-FBE28E32140A}" type="pres">
      <dgm:prSet presAssocID="{CE92E143-7827-4B23-958C-F5E2952926EC}" presName="comp" presStyleCnt="0"/>
      <dgm:spPr/>
    </dgm:pt>
    <dgm:pt modelId="{24F30434-915D-401A-842A-C3A44E75A979}" type="pres">
      <dgm:prSet presAssocID="{CE92E143-7827-4B23-958C-F5E2952926EC}" presName="box" presStyleLbl="node1" presStyleIdx="4" presStyleCnt="11"/>
      <dgm:spPr/>
    </dgm:pt>
    <dgm:pt modelId="{950174B9-C3EC-407B-9908-DBD126F0CF41}" type="pres">
      <dgm:prSet presAssocID="{CE92E143-7827-4B23-958C-F5E2952926EC}" presName="img" presStyleLbl="fgImgPlace1" presStyleIdx="4" presStyleCnt="11" custScaleX="60155" custLinFactNeighborX="-20488" custLinFactNeighborY="-537"/>
      <dgm:spPr>
        <a:blipFill rotWithShape="1">
          <a:blip xmlns:r="http://schemas.openxmlformats.org/officeDocument/2006/relationships" r:embed="rId5"/>
          <a:stretch>
            <a:fillRect/>
          </a:stretch>
        </a:blipFill>
      </dgm:spPr>
    </dgm:pt>
    <dgm:pt modelId="{BE359720-3DA6-45D3-B11C-BC16643AE4C6}" type="pres">
      <dgm:prSet presAssocID="{CE92E143-7827-4B23-958C-F5E2952926EC}" presName="text" presStyleLbl="node1" presStyleIdx="4" presStyleCnt="11">
        <dgm:presLayoutVars>
          <dgm:bulletEnabled val="1"/>
        </dgm:presLayoutVars>
      </dgm:prSet>
      <dgm:spPr/>
    </dgm:pt>
    <dgm:pt modelId="{C92EF613-86C2-41A3-8E40-41CCD6533A25}" type="pres">
      <dgm:prSet presAssocID="{9E9FB500-C656-4896-8D25-03917B48704C}" presName="spacer" presStyleCnt="0"/>
      <dgm:spPr/>
    </dgm:pt>
    <dgm:pt modelId="{5501A42F-8519-4F4C-A382-D5698CC9EB98}" type="pres">
      <dgm:prSet presAssocID="{011E79D2-CE12-4ACC-B4D0-D9E003466911}" presName="comp" presStyleCnt="0"/>
      <dgm:spPr/>
    </dgm:pt>
    <dgm:pt modelId="{0451AC9A-80EA-4040-A601-D0B64C634769}" type="pres">
      <dgm:prSet presAssocID="{011E79D2-CE12-4ACC-B4D0-D9E003466911}" presName="box" presStyleLbl="node1" presStyleIdx="5" presStyleCnt="11"/>
      <dgm:spPr/>
    </dgm:pt>
    <dgm:pt modelId="{652C01DF-6697-4345-A0E8-6D9D71FC067D}" type="pres">
      <dgm:prSet presAssocID="{011E79D2-CE12-4ACC-B4D0-D9E003466911}" presName="img" presStyleLbl="fgImgPlace1" presStyleIdx="5" presStyleCnt="11" custScaleX="60155" custLinFactNeighborX="-20488" custLinFactNeighborY="-537"/>
      <dgm:spPr>
        <a:blipFill rotWithShape="1">
          <a:blip xmlns:r="http://schemas.openxmlformats.org/officeDocument/2006/relationships" r:embed="rId6"/>
          <a:stretch>
            <a:fillRect/>
          </a:stretch>
        </a:blipFill>
      </dgm:spPr>
    </dgm:pt>
    <dgm:pt modelId="{FF945313-E4F2-443C-9640-F8236C883CA0}" type="pres">
      <dgm:prSet presAssocID="{011E79D2-CE12-4ACC-B4D0-D9E003466911}" presName="text" presStyleLbl="node1" presStyleIdx="5" presStyleCnt="11">
        <dgm:presLayoutVars>
          <dgm:bulletEnabled val="1"/>
        </dgm:presLayoutVars>
      </dgm:prSet>
      <dgm:spPr/>
    </dgm:pt>
    <dgm:pt modelId="{4ACE9022-A491-4746-BF11-8D981CC25E13}" type="pres">
      <dgm:prSet presAssocID="{46FBF3BF-5D0C-4A35-BF9D-1D6E2F785FEA}" presName="spacer" presStyleCnt="0"/>
      <dgm:spPr/>
    </dgm:pt>
    <dgm:pt modelId="{52FEB890-62E1-4FA0-BDD3-B9C9A73AC6EC}" type="pres">
      <dgm:prSet presAssocID="{A7635277-B6AF-417B-AB49-E517FD333C49}" presName="comp" presStyleCnt="0"/>
      <dgm:spPr/>
    </dgm:pt>
    <dgm:pt modelId="{5409D7A6-CC75-4C85-8991-EB5D7E28A32C}" type="pres">
      <dgm:prSet presAssocID="{A7635277-B6AF-417B-AB49-E517FD333C49}" presName="box" presStyleLbl="node1" presStyleIdx="6" presStyleCnt="11"/>
      <dgm:spPr/>
    </dgm:pt>
    <dgm:pt modelId="{3D67FE96-9C43-493B-A35A-BE8C89C56380}" type="pres">
      <dgm:prSet presAssocID="{A7635277-B6AF-417B-AB49-E517FD333C49}" presName="img" presStyleLbl="fgImgPlace1" presStyleIdx="6" presStyleCnt="11" custScaleX="60155" custLinFactNeighborX="-19888" custLinFactNeighborY="-2715"/>
      <dgm:spPr>
        <a:blipFill rotWithShape="1">
          <a:blip xmlns:r="http://schemas.openxmlformats.org/officeDocument/2006/relationships" r:embed="rId7"/>
          <a:stretch>
            <a:fillRect/>
          </a:stretch>
        </a:blipFill>
      </dgm:spPr>
    </dgm:pt>
    <dgm:pt modelId="{AF33F1AF-16D3-496F-A982-1F3CBCF4FF8E}" type="pres">
      <dgm:prSet presAssocID="{A7635277-B6AF-417B-AB49-E517FD333C49}" presName="text" presStyleLbl="node1" presStyleIdx="6" presStyleCnt="11">
        <dgm:presLayoutVars>
          <dgm:bulletEnabled val="1"/>
        </dgm:presLayoutVars>
      </dgm:prSet>
      <dgm:spPr/>
    </dgm:pt>
    <dgm:pt modelId="{3F77CCF2-5A1B-4171-9950-5A4EA6297782}" type="pres">
      <dgm:prSet presAssocID="{71F53B31-01A5-4EDB-848A-6A0AD6C5A84A}" presName="spacer" presStyleCnt="0"/>
      <dgm:spPr/>
    </dgm:pt>
    <dgm:pt modelId="{1C6DEF61-7DE4-4DB2-88CF-A29B18B2A57B}" type="pres">
      <dgm:prSet presAssocID="{C693AF90-2E67-4389-9BB6-C5D2CAEEC1FF}" presName="comp" presStyleCnt="0"/>
      <dgm:spPr/>
    </dgm:pt>
    <dgm:pt modelId="{0663B67C-F1DA-4AE8-B977-A72746B0B55A}" type="pres">
      <dgm:prSet presAssocID="{C693AF90-2E67-4389-9BB6-C5D2CAEEC1FF}" presName="box" presStyleLbl="node1" presStyleIdx="7" presStyleCnt="11"/>
      <dgm:spPr/>
    </dgm:pt>
    <dgm:pt modelId="{2B57F23D-5CBE-4272-A6F4-7FAA825DD5F1}" type="pres">
      <dgm:prSet presAssocID="{C693AF90-2E67-4389-9BB6-C5D2CAEEC1FF}" presName="img" presStyleLbl="fgImgPlace1" presStyleIdx="7" presStyleCnt="11" custScaleX="60155" custLinFactNeighborX="-20488" custLinFactNeighborY="-2715"/>
      <dgm:spPr>
        <a:blipFill rotWithShape="1">
          <a:blip xmlns:r="http://schemas.openxmlformats.org/officeDocument/2006/relationships" r:embed="rId8"/>
          <a:stretch>
            <a:fillRect/>
          </a:stretch>
        </a:blipFill>
      </dgm:spPr>
    </dgm:pt>
    <dgm:pt modelId="{DD756981-072A-4F78-ABC7-E2A848633815}" type="pres">
      <dgm:prSet presAssocID="{C693AF90-2E67-4389-9BB6-C5D2CAEEC1FF}" presName="text" presStyleLbl="node1" presStyleIdx="7" presStyleCnt="11">
        <dgm:presLayoutVars>
          <dgm:bulletEnabled val="1"/>
        </dgm:presLayoutVars>
      </dgm:prSet>
      <dgm:spPr/>
    </dgm:pt>
    <dgm:pt modelId="{E0FA4780-42E5-4D96-9EA9-AFC90BAEB194}" type="pres">
      <dgm:prSet presAssocID="{D443B56A-500B-4402-B1F6-0F52B8475755}" presName="spacer" presStyleCnt="0"/>
      <dgm:spPr/>
    </dgm:pt>
    <dgm:pt modelId="{F5029F3B-CDB2-44B7-954A-4E4749636DCA}" type="pres">
      <dgm:prSet presAssocID="{64841DF3-12D3-4C8A-A2EA-2845EC9F38D7}" presName="comp" presStyleCnt="0"/>
      <dgm:spPr/>
    </dgm:pt>
    <dgm:pt modelId="{A07D94F9-EF30-4E20-8074-E413B239BE21}" type="pres">
      <dgm:prSet presAssocID="{64841DF3-12D3-4C8A-A2EA-2845EC9F38D7}" presName="box" presStyleLbl="node1" presStyleIdx="8" presStyleCnt="11"/>
      <dgm:spPr/>
    </dgm:pt>
    <dgm:pt modelId="{345EE191-2927-4C04-BBA1-919BF1F7941C}" type="pres">
      <dgm:prSet presAssocID="{64841DF3-12D3-4C8A-A2EA-2845EC9F38D7}" presName="img" presStyleLbl="fgImgPlace1" presStyleIdx="8" presStyleCnt="11" custScaleX="60155" custLinFactNeighborX="-20488" custLinFactNeighborY="-537"/>
      <dgm:spPr>
        <a:blipFill rotWithShape="1">
          <a:blip xmlns:r="http://schemas.openxmlformats.org/officeDocument/2006/relationships" r:embed="rId9"/>
          <a:stretch>
            <a:fillRect/>
          </a:stretch>
        </a:blipFill>
      </dgm:spPr>
    </dgm:pt>
    <dgm:pt modelId="{C195AAFC-E8BF-40C9-B2F5-85621CF3B988}" type="pres">
      <dgm:prSet presAssocID="{64841DF3-12D3-4C8A-A2EA-2845EC9F38D7}" presName="text" presStyleLbl="node1" presStyleIdx="8" presStyleCnt="11">
        <dgm:presLayoutVars>
          <dgm:bulletEnabled val="1"/>
        </dgm:presLayoutVars>
      </dgm:prSet>
      <dgm:spPr/>
    </dgm:pt>
    <dgm:pt modelId="{D0A85CFD-6D98-4CF0-8A55-F4BCC6FC3771}" type="pres">
      <dgm:prSet presAssocID="{063C695B-C458-492E-9DD8-8C80EDD037E4}" presName="spacer" presStyleCnt="0"/>
      <dgm:spPr/>
    </dgm:pt>
    <dgm:pt modelId="{94C32681-5B23-4625-9591-31D5A6915637}" type="pres">
      <dgm:prSet presAssocID="{F29A499B-128E-4ED9-A5CE-D3EC6833A092}" presName="comp" presStyleCnt="0"/>
      <dgm:spPr/>
    </dgm:pt>
    <dgm:pt modelId="{21FD6BEC-2BE4-4D3B-9A53-4987D8EC21AC}" type="pres">
      <dgm:prSet presAssocID="{F29A499B-128E-4ED9-A5CE-D3EC6833A092}" presName="box" presStyleLbl="node1" presStyleIdx="9" presStyleCnt="11"/>
      <dgm:spPr/>
    </dgm:pt>
    <dgm:pt modelId="{D2F6CFBC-E310-4008-BC7E-CB6B12D9A319}" type="pres">
      <dgm:prSet presAssocID="{F29A499B-128E-4ED9-A5CE-D3EC6833A092}" presName="img" presStyleLbl="fgImgPlace1" presStyleIdx="9" presStyleCnt="11" custScaleX="60155" custLinFactNeighborX="-20488" custLinFactNeighborY="-537"/>
      <dgm:spPr>
        <a:blipFill rotWithShape="1">
          <a:blip xmlns:r="http://schemas.openxmlformats.org/officeDocument/2006/relationships" r:embed="rId10"/>
          <a:stretch>
            <a:fillRect/>
          </a:stretch>
        </a:blipFill>
      </dgm:spPr>
    </dgm:pt>
    <dgm:pt modelId="{98518E50-33B5-489D-8AF9-BC11CE515B19}" type="pres">
      <dgm:prSet presAssocID="{F29A499B-128E-4ED9-A5CE-D3EC6833A092}" presName="text" presStyleLbl="node1" presStyleIdx="9" presStyleCnt="11">
        <dgm:presLayoutVars>
          <dgm:bulletEnabled val="1"/>
        </dgm:presLayoutVars>
      </dgm:prSet>
      <dgm:spPr/>
    </dgm:pt>
    <dgm:pt modelId="{80A128C3-D91C-4A8E-897E-BE277EDC32F6}" type="pres">
      <dgm:prSet presAssocID="{34E1B6F7-AFA1-45F6-B66D-CE24B6F4F3E6}" presName="spacer" presStyleCnt="0"/>
      <dgm:spPr/>
    </dgm:pt>
    <dgm:pt modelId="{1B86AED6-E9C3-474C-A1B9-5352341B06AF}" type="pres">
      <dgm:prSet presAssocID="{87EED9D7-F903-415E-8AD5-FBB20E57F17C}" presName="comp" presStyleCnt="0"/>
      <dgm:spPr/>
    </dgm:pt>
    <dgm:pt modelId="{19D75B96-0BDF-4D45-9CDA-670E68961379}" type="pres">
      <dgm:prSet presAssocID="{87EED9D7-F903-415E-8AD5-FBB20E57F17C}" presName="box" presStyleLbl="node1" presStyleIdx="10" presStyleCnt="11"/>
      <dgm:spPr/>
    </dgm:pt>
    <dgm:pt modelId="{B2B9AF7E-0611-4D90-B154-64C9BDFC0B76}" type="pres">
      <dgm:prSet presAssocID="{87EED9D7-F903-415E-8AD5-FBB20E57F17C}" presName="img" presStyleLbl="fgImgPlace1" presStyleIdx="10" presStyleCnt="11" custScaleX="60155" custLinFactNeighborX="-20488" custLinFactNeighborY="-537"/>
      <dgm:spPr>
        <a:blipFill rotWithShape="1">
          <a:blip xmlns:r="http://schemas.openxmlformats.org/officeDocument/2006/relationships" r:embed="rId11"/>
          <a:stretch>
            <a:fillRect/>
          </a:stretch>
        </a:blipFill>
      </dgm:spPr>
    </dgm:pt>
    <dgm:pt modelId="{19010068-538E-4E7A-921F-CCE3278EC84F}" type="pres">
      <dgm:prSet presAssocID="{87EED9D7-F903-415E-8AD5-FBB20E57F17C}" presName="text" presStyleLbl="node1" presStyleIdx="10" presStyleCnt="11">
        <dgm:presLayoutVars>
          <dgm:bulletEnabled val="1"/>
        </dgm:presLayoutVars>
      </dgm:prSet>
      <dgm:spPr/>
    </dgm:pt>
  </dgm:ptLst>
  <dgm:cxnLst>
    <dgm:cxn modelId="{7014A16F-3386-4271-823A-1E3479C1A3C3}" type="presOf" srcId="{F29A499B-128E-4ED9-A5CE-D3EC6833A092}" destId="{21FD6BEC-2BE4-4D3B-9A53-4987D8EC21AC}" srcOrd="0" destOrd="0" presId="urn:microsoft.com/office/officeart/2005/8/layout/vList4"/>
    <dgm:cxn modelId="{6810593D-FC64-4330-BAC8-B050DD661FD7}" type="presOf" srcId="{64841DF3-12D3-4C8A-A2EA-2845EC9F38D7}" destId="{A07D94F9-EF30-4E20-8074-E413B239BE21}" srcOrd="0" destOrd="0" presId="urn:microsoft.com/office/officeart/2005/8/layout/vList4"/>
    <dgm:cxn modelId="{25B30777-672F-453D-A925-DF4A3A8C0EF6}" type="presOf" srcId="{EA167186-6F53-4DC7-A045-E6417D37BF33}" destId="{5B74900C-2DC2-4F9C-83EA-B674B8C455C3}" srcOrd="0" destOrd="0" presId="urn:microsoft.com/office/officeart/2005/8/layout/vList4"/>
    <dgm:cxn modelId="{29C867A9-706B-4082-99B1-529CF2AA153D}" type="presOf" srcId="{011E79D2-CE12-4ACC-B4D0-D9E003466911}" destId="{FF945313-E4F2-443C-9640-F8236C883CA0}" srcOrd="1" destOrd="0" presId="urn:microsoft.com/office/officeart/2005/8/layout/vList4"/>
    <dgm:cxn modelId="{A7E17DD4-E0EF-4403-AB26-19B7F75407DC}" type="presOf" srcId="{F29A499B-128E-4ED9-A5CE-D3EC6833A092}" destId="{98518E50-33B5-489D-8AF9-BC11CE515B19}" srcOrd="1" destOrd="0" presId="urn:microsoft.com/office/officeart/2005/8/layout/vList4"/>
    <dgm:cxn modelId="{7E99E56C-D01E-44CA-A2A6-B16A3CB3FA6E}" type="presOf" srcId="{CE92E143-7827-4B23-958C-F5E2952926EC}" destId="{24F30434-915D-401A-842A-C3A44E75A979}" srcOrd="0" destOrd="0" presId="urn:microsoft.com/office/officeart/2005/8/layout/vList4"/>
    <dgm:cxn modelId="{F7E6D72A-5B0B-4536-9DE8-41E4810247B9}" srcId="{8DA69A69-DF68-414D-8EA4-5B891DFFA5AF}" destId="{011E79D2-CE12-4ACC-B4D0-D9E003466911}" srcOrd="5" destOrd="0" parTransId="{29814D48-68C9-4F1B-A742-4632C8E2EA9C}" sibTransId="{46FBF3BF-5D0C-4A35-BF9D-1D6E2F785FEA}"/>
    <dgm:cxn modelId="{DB6381F9-22D0-4EC2-89ED-F9723FBC122B}" srcId="{8DA69A69-DF68-414D-8EA4-5B891DFFA5AF}" destId="{87EED9D7-F903-415E-8AD5-FBB20E57F17C}" srcOrd="10" destOrd="0" parTransId="{9CF7ABFF-4CAE-47CB-923D-1BC6D6E97E96}" sibTransId="{845A9F58-8459-4120-83F7-C236F902D2A4}"/>
    <dgm:cxn modelId="{48C0D9DC-8DEF-4A18-A0E2-0A591D1D23D4}" srcId="{8DA69A69-DF68-414D-8EA4-5B891DFFA5AF}" destId="{64841DF3-12D3-4C8A-A2EA-2845EC9F38D7}" srcOrd="8" destOrd="0" parTransId="{A9E857A5-108E-46DC-B1FD-F3877D7A6824}" sibTransId="{063C695B-C458-492E-9DD8-8C80EDD037E4}"/>
    <dgm:cxn modelId="{FADBC256-B53A-4253-82DD-D9B3730AA1EC}" type="presOf" srcId="{01BDD74D-C028-4813-9A40-60C9E2F57DB0}" destId="{28517874-F162-4DF2-9EB3-F83C7A652985}" srcOrd="1" destOrd="0" presId="urn:microsoft.com/office/officeart/2005/8/layout/vList4"/>
    <dgm:cxn modelId="{837E456E-152E-40BC-BEB1-7C6227FC233C}" type="presOf" srcId="{01BDD74D-C028-4813-9A40-60C9E2F57DB0}" destId="{38C1AABC-2A80-4D18-AB70-CD76795B5F08}" srcOrd="0" destOrd="0" presId="urn:microsoft.com/office/officeart/2005/8/layout/vList4"/>
    <dgm:cxn modelId="{E9CD9087-4D76-4DCC-976E-CEF58E4BDA7B}" srcId="{8DA69A69-DF68-414D-8EA4-5B891DFFA5AF}" destId="{01BDD74D-C028-4813-9A40-60C9E2F57DB0}" srcOrd="0" destOrd="0" parTransId="{B1B801B5-C3BE-4F62-9805-943F9ECCC34B}" sibTransId="{F35B3DDF-F275-4912-BB0B-8814AF11EBD0}"/>
    <dgm:cxn modelId="{DCC80B1A-4E1A-41D5-958B-E5CD639B1B0D}" type="presOf" srcId="{C693AF90-2E67-4389-9BB6-C5D2CAEEC1FF}" destId="{0663B67C-F1DA-4AE8-B977-A72746B0B55A}" srcOrd="0" destOrd="0" presId="urn:microsoft.com/office/officeart/2005/8/layout/vList4"/>
    <dgm:cxn modelId="{3E7B37FE-1F03-4B51-8A7C-5C8D70514817}" type="presOf" srcId="{A7635277-B6AF-417B-AB49-E517FD333C49}" destId="{AF33F1AF-16D3-496F-A982-1F3CBCF4FF8E}" srcOrd="1" destOrd="0" presId="urn:microsoft.com/office/officeart/2005/8/layout/vList4"/>
    <dgm:cxn modelId="{262F509B-DD73-42F9-9BA8-435A6AFF57F4}" type="presOf" srcId="{AB393BA1-5855-49E3-9B86-59C4B29CEA69}" destId="{9D8C2DA9-47A7-491C-9512-DC63D526E7DA}" srcOrd="1" destOrd="0" presId="urn:microsoft.com/office/officeart/2005/8/layout/vList4"/>
    <dgm:cxn modelId="{462546E9-5FC3-417D-9427-DDC067EFBA53}" type="presOf" srcId="{8DA69A69-DF68-414D-8EA4-5B891DFFA5AF}" destId="{3245D8A3-8E5E-4370-9560-7D50F08D1AAC}" srcOrd="0" destOrd="0" presId="urn:microsoft.com/office/officeart/2005/8/layout/vList4"/>
    <dgm:cxn modelId="{8A6687E5-21B2-435D-B10C-332268480112}" srcId="{8DA69A69-DF68-414D-8EA4-5B891DFFA5AF}" destId="{EA167186-6F53-4DC7-A045-E6417D37BF33}" srcOrd="3" destOrd="0" parTransId="{AA45AC8D-893E-49DB-8316-613BBB5646B5}" sibTransId="{9FE0364B-209B-4506-9049-4401EA19AFBC}"/>
    <dgm:cxn modelId="{8D5B359C-D9E7-4132-8320-19453F90DDBD}" type="presOf" srcId="{A7635277-B6AF-417B-AB49-E517FD333C49}" destId="{5409D7A6-CC75-4C85-8991-EB5D7E28A32C}" srcOrd="0" destOrd="0" presId="urn:microsoft.com/office/officeart/2005/8/layout/vList4"/>
    <dgm:cxn modelId="{77186B5F-C2E3-45CC-B1DA-3307947B8E66}" type="presOf" srcId="{011E79D2-CE12-4ACC-B4D0-D9E003466911}" destId="{0451AC9A-80EA-4040-A601-D0B64C634769}" srcOrd="0" destOrd="0" presId="urn:microsoft.com/office/officeart/2005/8/layout/vList4"/>
    <dgm:cxn modelId="{201FA9D4-3A6B-489F-B035-67218D0EF8D5}" srcId="{8DA69A69-DF68-414D-8EA4-5B891DFFA5AF}" destId="{F29A499B-128E-4ED9-A5CE-D3EC6833A092}" srcOrd="9" destOrd="0" parTransId="{CDD56826-666D-4326-B961-511482B1AE98}" sibTransId="{34E1B6F7-AFA1-45F6-B66D-CE24B6F4F3E6}"/>
    <dgm:cxn modelId="{6C569132-71B0-4D77-BA25-C5457021688A}" srcId="{8DA69A69-DF68-414D-8EA4-5B891DFFA5AF}" destId="{B1A5E10D-28EF-4A53-BB42-ADFCEDD33914}" srcOrd="1" destOrd="0" parTransId="{4330C9E9-E525-4CE3-8D83-79DC3A7B548F}" sibTransId="{EE6CE372-F5B4-4C65-BB47-2D0CBB1D465F}"/>
    <dgm:cxn modelId="{3F70E3EC-8DAA-43A9-9201-E83ACE16E279}" type="presOf" srcId="{B1A5E10D-28EF-4A53-BB42-ADFCEDD33914}" destId="{72FDBD55-6070-4E85-AA3A-6F7522DCF49F}" srcOrd="0" destOrd="0" presId="urn:microsoft.com/office/officeart/2005/8/layout/vList4"/>
    <dgm:cxn modelId="{C1692AC0-BA0F-45DE-B396-12372577650D}" srcId="{8DA69A69-DF68-414D-8EA4-5B891DFFA5AF}" destId="{C693AF90-2E67-4389-9BB6-C5D2CAEEC1FF}" srcOrd="7" destOrd="0" parTransId="{00079A4F-B938-401D-9474-8F2025C874A4}" sibTransId="{D443B56A-500B-4402-B1F6-0F52B8475755}"/>
    <dgm:cxn modelId="{54181BCC-794E-4A3F-B69C-66358F54999E}" type="presOf" srcId="{87EED9D7-F903-415E-8AD5-FBB20E57F17C}" destId="{19010068-538E-4E7A-921F-CCE3278EC84F}" srcOrd="1" destOrd="0" presId="urn:microsoft.com/office/officeart/2005/8/layout/vList4"/>
    <dgm:cxn modelId="{A38FB077-A8D7-40C2-A916-B9A2D88691E7}" type="presOf" srcId="{B1A5E10D-28EF-4A53-BB42-ADFCEDD33914}" destId="{1A6920FE-A97C-4482-AA47-1D4A8C2D730F}" srcOrd="1" destOrd="0" presId="urn:microsoft.com/office/officeart/2005/8/layout/vList4"/>
    <dgm:cxn modelId="{BF22BE76-DB17-4A7C-9C6A-6A21FB3D184F}" type="presOf" srcId="{AB393BA1-5855-49E3-9B86-59C4B29CEA69}" destId="{B3A218B0-FF83-4B81-B386-3F5787FB84AE}" srcOrd="0" destOrd="0" presId="urn:microsoft.com/office/officeart/2005/8/layout/vList4"/>
    <dgm:cxn modelId="{128B230A-B289-4CB6-A6AF-E0A33A02F871}" type="presOf" srcId="{64841DF3-12D3-4C8A-A2EA-2845EC9F38D7}" destId="{C195AAFC-E8BF-40C9-B2F5-85621CF3B988}" srcOrd="1" destOrd="0" presId="urn:microsoft.com/office/officeart/2005/8/layout/vList4"/>
    <dgm:cxn modelId="{F3ED81DC-2C51-47EE-A31F-B6E976CD6458}" srcId="{8DA69A69-DF68-414D-8EA4-5B891DFFA5AF}" destId="{AB393BA1-5855-49E3-9B86-59C4B29CEA69}" srcOrd="2" destOrd="0" parTransId="{FB136A78-F087-494B-A4DD-4AF3EF01BF04}" sibTransId="{CFE1A1C0-1939-44E8-B395-EE878B1AED03}"/>
    <dgm:cxn modelId="{705C021B-4DD7-4E5D-89C9-EDEBD5F17379}" type="presOf" srcId="{CE92E143-7827-4B23-958C-F5E2952926EC}" destId="{BE359720-3DA6-45D3-B11C-BC16643AE4C6}" srcOrd="1" destOrd="0" presId="urn:microsoft.com/office/officeart/2005/8/layout/vList4"/>
    <dgm:cxn modelId="{824BE007-D8A8-4BC5-A897-8BE1CC7D6DDF}" type="presOf" srcId="{C693AF90-2E67-4389-9BB6-C5D2CAEEC1FF}" destId="{DD756981-072A-4F78-ABC7-E2A848633815}" srcOrd="1" destOrd="0" presId="urn:microsoft.com/office/officeart/2005/8/layout/vList4"/>
    <dgm:cxn modelId="{16E582A8-0239-4002-981C-4F30902CDCB6}" type="presOf" srcId="{87EED9D7-F903-415E-8AD5-FBB20E57F17C}" destId="{19D75B96-0BDF-4D45-9CDA-670E68961379}" srcOrd="0" destOrd="0" presId="urn:microsoft.com/office/officeart/2005/8/layout/vList4"/>
    <dgm:cxn modelId="{E8D64E65-62F1-48F0-A7F4-ECB5F990C6DE}" type="presOf" srcId="{EA167186-6F53-4DC7-A045-E6417D37BF33}" destId="{D2600429-E556-46F6-80E8-880C4820F655}" srcOrd="1" destOrd="0" presId="urn:microsoft.com/office/officeart/2005/8/layout/vList4"/>
    <dgm:cxn modelId="{047C46A9-F2CD-4146-951F-467E5F8CB8ED}" srcId="{8DA69A69-DF68-414D-8EA4-5B891DFFA5AF}" destId="{CE92E143-7827-4B23-958C-F5E2952926EC}" srcOrd="4" destOrd="0" parTransId="{C4D32C04-360F-4F8D-8B67-B5640F4A6D8F}" sibTransId="{9E9FB500-C656-4896-8D25-03917B48704C}"/>
    <dgm:cxn modelId="{876943E5-6311-4C46-B02D-095CFB15C899}" srcId="{8DA69A69-DF68-414D-8EA4-5B891DFFA5AF}" destId="{A7635277-B6AF-417B-AB49-E517FD333C49}" srcOrd="6" destOrd="0" parTransId="{C477E470-852C-42A8-B063-8341FC3C990C}" sibTransId="{71F53B31-01A5-4EDB-848A-6A0AD6C5A84A}"/>
    <dgm:cxn modelId="{B3C88914-B663-4D88-A984-53C0250FD5C5}" type="presParOf" srcId="{3245D8A3-8E5E-4370-9560-7D50F08D1AAC}" destId="{591064D2-3FD8-4EBB-A7F6-6190915D84B9}" srcOrd="0" destOrd="0" presId="urn:microsoft.com/office/officeart/2005/8/layout/vList4"/>
    <dgm:cxn modelId="{574EADAF-8F63-40AA-AA0F-59CAD1AD1AA3}" type="presParOf" srcId="{591064D2-3FD8-4EBB-A7F6-6190915D84B9}" destId="{38C1AABC-2A80-4D18-AB70-CD76795B5F08}" srcOrd="0" destOrd="0" presId="urn:microsoft.com/office/officeart/2005/8/layout/vList4"/>
    <dgm:cxn modelId="{BC1BED41-3394-419A-9D43-3FA1CFB12F76}" type="presParOf" srcId="{591064D2-3FD8-4EBB-A7F6-6190915D84B9}" destId="{36A321AB-B414-459A-92C0-C559ED15EF30}" srcOrd="1" destOrd="0" presId="urn:microsoft.com/office/officeart/2005/8/layout/vList4"/>
    <dgm:cxn modelId="{6F0DD6FB-42C7-4A25-A639-2852B0017587}" type="presParOf" srcId="{591064D2-3FD8-4EBB-A7F6-6190915D84B9}" destId="{28517874-F162-4DF2-9EB3-F83C7A652985}" srcOrd="2" destOrd="0" presId="urn:microsoft.com/office/officeart/2005/8/layout/vList4"/>
    <dgm:cxn modelId="{16FDA3BE-ECE7-4135-AFFA-D81F960A5FFF}" type="presParOf" srcId="{3245D8A3-8E5E-4370-9560-7D50F08D1AAC}" destId="{792ED8B5-2DD0-439D-81C0-CD908D092B9B}" srcOrd="1" destOrd="0" presId="urn:microsoft.com/office/officeart/2005/8/layout/vList4"/>
    <dgm:cxn modelId="{A42D61C2-70B5-4757-9020-03E4A49145FD}" type="presParOf" srcId="{3245D8A3-8E5E-4370-9560-7D50F08D1AAC}" destId="{5CCFB758-000F-4683-BD12-C441C92A1487}" srcOrd="2" destOrd="0" presId="urn:microsoft.com/office/officeart/2005/8/layout/vList4"/>
    <dgm:cxn modelId="{DB30D0F6-4E41-42EB-969D-F85FBD0287CD}" type="presParOf" srcId="{5CCFB758-000F-4683-BD12-C441C92A1487}" destId="{72FDBD55-6070-4E85-AA3A-6F7522DCF49F}" srcOrd="0" destOrd="0" presId="urn:microsoft.com/office/officeart/2005/8/layout/vList4"/>
    <dgm:cxn modelId="{D03E5505-A0C8-4ABF-BCB0-672DF780346B}" type="presParOf" srcId="{5CCFB758-000F-4683-BD12-C441C92A1487}" destId="{49D4FFC3-C990-4FEA-ADFC-9F2B001FE866}" srcOrd="1" destOrd="0" presId="urn:microsoft.com/office/officeart/2005/8/layout/vList4"/>
    <dgm:cxn modelId="{F9B4323A-3D88-4B46-9F00-D85C99ED5F56}" type="presParOf" srcId="{5CCFB758-000F-4683-BD12-C441C92A1487}" destId="{1A6920FE-A97C-4482-AA47-1D4A8C2D730F}" srcOrd="2" destOrd="0" presId="urn:microsoft.com/office/officeart/2005/8/layout/vList4"/>
    <dgm:cxn modelId="{67AEB38C-FDB7-4835-8E9F-26A4E24FA82C}" type="presParOf" srcId="{3245D8A3-8E5E-4370-9560-7D50F08D1AAC}" destId="{6A8B3FBB-BD6E-4DCA-BA20-9EF9BC5A78D3}" srcOrd="3" destOrd="0" presId="urn:microsoft.com/office/officeart/2005/8/layout/vList4"/>
    <dgm:cxn modelId="{B895419C-9383-42BC-A372-200B9087388D}" type="presParOf" srcId="{3245D8A3-8E5E-4370-9560-7D50F08D1AAC}" destId="{EA6FEACF-09F4-4CA2-8178-78B09A7EFBBB}" srcOrd="4" destOrd="0" presId="urn:microsoft.com/office/officeart/2005/8/layout/vList4"/>
    <dgm:cxn modelId="{08BFFBE1-78EB-4BA1-B032-DBF0107DDD16}" type="presParOf" srcId="{EA6FEACF-09F4-4CA2-8178-78B09A7EFBBB}" destId="{B3A218B0-FF83-4B81-B386-3F5787FB84AE}" srcOrd="0" destOrd="0" presId="urn:microsoft.com/office/officeart/2005/8/layout/vList4"/>
    <dgm:cxn modelId="{6B50E8C2-74D1-4E54-8E91-36B44D79F6DB}" type="presParOf" srcId="{EA6FEACF-09F4-4CA2-8178-78B09A7EFBBB}" destId="{1DF032E0-13E8-404C-A3CD-F57FFFAF656E}" srcOrd="1" destOrd="0" presId="urn:microsoft.com/office/officeart/2005/8/layout/vList4"/>
    <dgm:cxn modelId="{659CEC41-3E7A-452A-982F-A315D683BA61}" type="presParOf" srcId="{EA6FEACF-09F4-4CA2-8178-78B09A7EFBBB}" destId="{9D8C2DA9-47A7-491C-9512-DC63D526E7DA}" srcOrd="2" destOrd="0" presId="urn:microsoft.com/office/officeart/2005/8/layout/vList4"/>
    <dgm:cxn modelId="{45611137-4960-4E91-9F1B-79DAFA9663ED}" type="presParOf" srcId="{3245D8A3-8E5E-4370-9560-7D50F08D1AAC}" destId="{A85F395D-8BD3-45D3-8EFF-7FA6AF594D0F}" srcOrd="5" destOrd="0" presId="urn:microsoft.com/office/officeart/2005/8/layout/vList4"/>
    <dgm:cxn modelId="{C48FE5F9-7C44-4570-A886-A8EF148B1C55}" type="presParOf" srcId="{3245D8A3-8E5E-4370-9560-7D50F08D1AAC}" destId="{9AB32DE8-9EB7-4A4C-838E-2A0D8828CDAA}" srcOrd="6" destOrd="0" presId="urn:microsoft.com/office/officeart/2005/8/layout/vList4"/>
    <dgm:cxn modelId="{86099A45-8003-44F3-96BC-7C07FB7EE766}" type="presParOf" srcId="{9AB32DE8-9EB7-4A4C-838E-2A0D8828CDAA}" destId="{5B74900C-2DC2-4F9C-83EA-B674B8C455C3}" srcOrd="0" destOrd="0" presId="urn:microsoft.com/office/officeart/2005/8/layout/vList4"/>
    <dgm:cxn modelId="{F5B94FD4-0EEA-4706-8C6A-6ED3867F082D}" type="presParOf" srcId="{9AB32DE8-9EB7-4A4C-838E-2A0D8828CDAA}" destId="{EB1CC876-66DD-4A75-B47F-79507A427898}" srcOrd="1" destOrd="0" presId="urn:microsoft.com/office/officeart/2005/8/layout/vList4"/>
    <dgm:cxn modelId="{A822CBB4-6983-4DEC-8CBE-F5BA3D985FA7}" type="presParOf" srcId="{9AB32DE8-9EB7-4A4C-838E-2A0D8828CDAA}" destId="{D2600429-E556-46F6-80E8-880C4820F655}" srcOrd="2" destOrd="0" presId="urn:microsoft.com/office/officeart/2005/8/layout/vList4"/>
    <dgm:cxn modelId="{81AE150A-E1FB-4EAD-B7C8-691AA97891B0}" type="presParOf" srcId="{3245D8A3-8E5E-4370-9560-7D50F08D1AAC}" destId="{83EBCC5F-57AF-408C-86D9-F0E2ACBBE12B}" srcOrd="7" destOrd="0" presId="urn:microsoft.com/office/officeart/2005/8/layout/vList4"/>
    <dgm:cxn modelId="{2CF45B34-36CE-4F53-BEE6-A1E5418315BF}" type="presParOf" srcId="{3245D8A3-8E5E-4370-9560-7D50F08D1AAC}" destId="{D671913D-787A-4165-BF27-FBE28E32140A}" srcOrd="8" destOrd="0" presId="urn:microsoft.com/office/officeart/2005/8/layout/vList4"/>
    <dgm:cxn modelId="{2F124BE6-24CF-4644-9DE3-00595F4EC23F}" type="presParOf" srcId="{D671913D-787A-4165-BF27-FBE28E32140A}" destId="{24F30434-915D-401A-842A-C3A44E75A979}" srcOrd="0" destOrd="0" presId="urn:microsoft.com/office/officeart/2005/8/layout/vList4"/>
    <dgm:cxn modelId="{277444A2-0AAA-44A6-AD51-B0CEA85F7373}" type="presParOf" srcId="{D671913D-787A-4165-BF27-FBE28E32140A}" destId="{950174B9-C3EC-407B-9908-DBD126F0CF41}" srcOrd="1" destOrd="0" presId="urn:microsoft.com/office/officeart/2005/8/layout/vList4"/>
    <dgm:cxn modelId="{85CA24B1-888A-44A2-ABEE-B45D28ABC074}" type="presParOf" srcId="{D671913D-787A-4165-BF27-FBE28E32140A}" destId="{BE359720-3DA6-45D3-B11C-BC16643AE4C6}" srcOrd="2" destOrd="0" presId="urn:microsoft.com/office/officeart/2005/8/layout/vList4"/>
    <dgm:cxn modelId="{D57A5367-B50D-4C1F-9BDA-67AEB7489A7E}" type="presParOf" srcId="{3245D8A3-8E5E-4370-9560-7D50F08D1AAC}" destId="{C92EF613-86C2-41A3-8E40-41CCD6533A25}" srcOrd="9" destOrd="0" presId="urn:microsoft.com/office/officeart/2005/8/layout/vList4"/>
    <dgm:cxn modelId="{8C22E6F5-ACE2-4967-BBE9-7C6DFE303036}" type="presParOf" srcId="{3245D8A3-8E5E-4370-9560-7D50F08D1AAC}" destId="{5501A42F-8519-4F4C-A382-D5698CC9EB98}" srcOrd="10" destOrd="0" presId="urn:microsoft.com/office/officeart/2005/8/layout/vList4"/>
    <dgm:cxn modelId="{FC40BD94-FEF9-4078-B70E-60D95683E243}" type="presParOf" srcId="{5501A42F-8519-4F4C-A382-D5698CC9EB98}" destId="{0451AC9A-80EA-4040-A601-D0B64C634769}" srcOrd="0" destOrd="0" presId="urn:microsoft.com/office/officeart/2005/8/layout/vList4"/>
    <dgm:cxn modelId="{F4C0E8EE-3C89-4C69-B9FC-7CB8C6E3D64E}" type="presParOf" srcId="{5501A42F-8519-4F4C-A382-D5698CC9EB98}" destId="{652C01DF-6697-4345-A0E8-6D9D71FC067D}" srcOrd="1" destOrd="0" presId="urn:microsoft.com/office/officeart/2005/8/layout/vList4"/>
    <dgm:cxn modelId="{723AF948-A621-4EE5-A4D2-F8F8448372E2}" type="presParOf" srcId="{5501A42F-8519-4F4C-A382-D5698CC9EB98}" destId="{FF945313-E4F2-443C-9640-F8236C883CA0}" srcOrd="2" destOrd="0" presId="urn:microsoft.com/office/officeart/2005/8/layout/vList4"/>
    <dgm:cxn modelId="{9F3E1BD8-6EC9-4B9A-9C99-DADF1EAC596F}" type="presParOf" srcId="{3245D8A3-8E5E-4370-9560-7D50F08D1AAC}" destId="{4ACE9022-A491-4746-BF11-8D981CC25E13}" srcOrd="11" destOrd="0" presId="urn:microsoft.com/office/officeart/2005/8/layout/vList4"/>
    <dgm:cxn modelId="{5BF7ED99-8F8B-4F51-87F6-502AB2CE44DF}" type="presParOf" srcId="{3245D8A3-8E5E-4370-9560-7D50F08D1AAC}" destId="{52FEB890-62E1-4FA0-BDD3-B9C9A73AC6EC}" srcOrd="12" destOrd="0" presId="urn:microsoft.com/office/officeart/2005/8/layout/vList4"/>
    <dgm:cxn modelId="{5279FA02-274F-45F9-AD13-037FF0115E35}" type="presParOf" srcId="{52FEB890-62E1-4FA0-BDD3-B9C9A73AC6EC}" destId="{5409D7A6-CC75-4C85-8991-EB5D7E28A32C}" srcOrd="0" destOrd="0" presId="urn:microsoft.com/office/officeart/2005/8/layout/vList4"/>
    <dgm:cxn modelId="{E43CFC97-B77A-4536-9D94-B20FF7158E48}" type="presParOf" srcId="{52FEB890-62E1-4FA0-BDD3-B9C9A73AC6EC}" destId="{3D67FE96-9C43-493B-A35A-BE8C89C56380}" srcOrd="1" destOrd="0" presId="urn:microsoft.com/office/officeart/2005/8/layout/vList4"/>
    <dgm:cxn modelId="{D38BCC78-B3C3-42C3-A0BE-43A6335196A6}" type="presParOf" srcId="{52FEB890-62E1-4FA0-BDD3-B9C9A73AC6EC}" destId="{AF33F1AF-16D3-496F-A982-1F3CBCF4FF8E}" srcOrd="2" destOrd="0" presId="urn:microsoft.com/office/officeart/2005/8/layout/vList4"/>
    <dgm:cxn modelId="{E792BFB3-AD8E-4630-9133-4D1C8F3AD824}" type="presParOf" srcId="{3245D8A3-8E5E-4370-9560-7D50F08D1AAC}" destId="{3F77CCF2-5A1B-4171-9950-5A4EA6297782}" srcOrd="13" destOrd="0" presId="urn:microsoft.com/office/officeart/2005/8/layout/vList4"/>
    <dgm:cxn modelId="{BF6FA6FC-3872-4B80-87B5-514C5D3C15FA}" type="presParOf" srcId="{3245D8A3-8E5E-4370-9560-7D50F08D1AAC}" destId="{1C6DEF61-7DE4-4DB2-88CF-A29B18B2A57B}" srcOrd="14" destOrd="0" presId="urn:microsoft.com/office/officeart/2005/8/layout/vList4"/>
    <dgm:cxn modelId="{F6E86536-1ABC-4D96-B00F-E7FF2BCC0400}" type="presParOf" srcId="{1C6DEF61-7DE4-4DB2-88CF-A29B18B2A57B}" destId="{0663B67C-F1DA-4AE8-B977-A72746B0B55A}" srcOrd="0" destOrd="0" presId="urn:microsoft.com/office/officeart/2005/8/layout/vList4"/>
    <dgm:cxn modelId="{25F23B03-2F10-40F1-B93C-D06EDA6D6A21}" type="presParOf" srcId="{1C6DEF61-7DE4-4DB2-88CF-A29B18B2A57B}" destId="{2B57F23D-5CBE-4272-A6F4-7FAA825DD5F1}" srcOrd="1" destOrd="0" presId="urn:microsoft.com/office/officeart/2005/8/layout/vList4"/>
    <dgm:cxn modelId="{447162C0-2096-4D68-8833-5CE1E17BEE9B}" type="presParOf" srcId="{1C6DEF61-7DE4-4DB2-88CF-A29B18B2A57B}" destId="{DD756981-072A-4F78-ABC7-E2A848633815}" srcOrd="2" destOrd="0" presId="urn:microsoft.com/office/officeart/2005/8/layout/vList4"/>
    <dgm:cxn modelId="{B45CB449-12A8-45AE-82D5-76E7B9A38DED}" type="presParOf" srcId="{3245D8A3-8E5E-4370-9560-7D50F08D1AAC}" destId="{E0FA4780-42E5-4D96-9EA9-AFC90BAEB194}" srcOrd="15" destOrd="0" presId="urn:microsoft.com/office/officeart/2005/8/layout/vList4"/>
    <dgm:cxn modelId="{7F2AA951-DA41-41C3-B26B-561614B1E165}" type="presParOf" srcId="{3245D8A3-8E5E-4370-9560-7D50F08D1AAC}" destId="{F5029F3B-CDB2-44B7-954A-4E4749636DCA}" srcOrd="16" destOrd="0" presId="urn:microsoft.com/office/officeart/2005/8/layout/vList4"/>
    <dgm:cxn modelId="{07E83D3D-7D4D-41FF-BDCF-BAA907F16BCC}" type="presParOf" srcId="{F5029F3B-CDB2-44B7-954A-4E4749636DCA}" destId="{A07D94F9-EF30-4E20-8074-E413B239BE21}" srcOrd="0" destOrd="0" presId="urn:microsoft.com/office/officeart/2005/8/layout/vList4"/>
    <dgm:cxn modelId="{BBD1C076-4AA0-4062-AF6E-0BFFC9882661}" type="presParOf" srcId="{F5029F3B-CDB2-44B7-954A-4E4749636DCA}" destId="{345EE191-2927-4C04-BBA1-919BF1F7941C}" srcOrd="1" destOrd="0" presId="urn:microsoft.com/office/officeart/2005/8/layout/vList4"/>
    <dgm:cxn modelId="{C4475822-75A5-4EE6-A6C9-67F017646310}" type="presParOf" srcId="{F5029F3B-CDB2-44B7-954A-4E4749636DCA}" destId="{C195AAFC-E8BF-40C9-B2F5-85621CF3B988}" srcOrd="2" destOrd="0" presId="urn:microsoft.com/office/officeart/2005/8/layout/vList4"/>
    <dgm:cxn modelId="{A1118350-863B-43C9-A6FA-E4B512B703DC}" type="presParOf" srcId="{3245D8A3-8E5E-4370-9560-7D50F08D1AAC}" destId="{D0A85CFD-6D98-4CF0-8A55-F4BCC6FC3771}" srcOrd="17" destOrd="0" presId="urn:microsoft.com/office/officeart/2005/8/layout/vList4"/>
    <dgm:cxn modelId="{E9155745-59CC-487F-8C93-AA3AA44B26A5}" type="presParOf" srcId="{3245D8A3-8E5E-4370-9560-7D50F08D1AAC}" destId="{94C32681-5B23-4625-9591-31D5A6915637}" srcOrd="18" destOrd="0" presId="urn:microsoft.com/office/officeart/2005/8/layout/vList4"/>
    <dgm:cxn modelId="{31DD0128-CAB2-426D-8438-E4DC98CC0201}" type="presParOf" srcId="{94C32681-5B23-4625-9591-31D5A6915637}" destId="{21FD6BEC-2BE4-4D3B-9A53-4987D8EC21AC}" srcOrd="0" destOrd="0" presId="urn:microsoft.com/office/officeart/2005/8/layout/vList4"/>
    <dgm:cxn modelId="{8B59C2AA-3F8B-413B-87DF-F514CDE42C4A}" type="presParOf" srcId="{94C32681-5B23-4625-9591-31D5A6915637}" destId="{D2F6CFBC-E310-4008-BC7E-CB6B12D9A319}" srcOrd="1" destOrd="0" presId="urn:microsoft.com/office/officeart/2005/8/layout/vList4"/>
    <dgm:cxn modelId="{23D20066-96D5-4A12-A64B-2DE7B7E22A38}" type="presParOf" srcId="{94C32681-5B23-4625-9591-31D5A6915637}" destId="{98518E50-33B5-489D-8AF9-BC11CE515B19}" srcOrd="2" destOrd="0" presId="urn:microsoft.com/office/officeart/2005/8/layout/vList4"/>
    <dgm:cxn modelId="{EDF08B85-D904-4A33-87A9-06786BD039CA}" type="presParOf" srcId="{3245D8A3-8E5E-4370-9560-7D50F08D1AAC}" destId="{80A128C3-D91C-4A8E-897E-BE277EDC32F6}" srcOrd="19" destOrd="0" presId="urn:microsoft.com/office/officeart/2005/8/layout/vList4"/>
    <dgm:cxn modelId="{BED1A218-BA9F-43F4-A577-F4DE1652BB0E}" type="presParOf" srcId="{3245D8A3-8E5E-4370-9560-7D50F08D1AAC}" destId="{1B86AED6-E9C3-474C-A1B9-5352341B06AF}" srcOrd="20" destOrd="0" presId="urn:microsoft.com/office/officeart/2005/8/layout/vList4"/>
    <dgm:cxn modelId="{EF68284E-F7F1-496F-BD7B-168F39C52ADB}" type="presParOf" srcId="{1B86AED6-E9C3-474C-A1B9-5352341B06AF}" destId="{19D75B96-0BDF-4D45-9CDA-670E68961379}" srcOrd="0" destOrd="0" presId="urn:microsoft.com/office/officeart/2005/8/layout/vList4"/>
    <dgm:cxn modelId="{EDB9E11D-310F-454B-9F21-311C32F5A495}" type="presParOf" srcId="{1B86AED6-E9C3-474C-A1B9-5352341B06AF}" destId="{B2B9AF7E-0611-4D90-B154-64C9BDFC0B76}" srcOrd="1" destOrd="0" presId="urn:microsoft.com/office/officeart/2005/8/layout/vList4"/>
    <dgm:cxn modelId="{A380D878-7A48-468D-9945-0C173183FD1A}" type="presParOf" srcId="{1B86AED6-E9C3-474C-A1B9-5352341B06AF}" destId="{19010068-538E-4E7A-921F-CCE3278EC84F}"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6ABD0-F64A-458E-8A26-0D837897DC64}">
      <dsp:nvSpPr>
        <dsp:cNvPr id="0" name=""/>
        <dsp:cNvSpPr/>
      </dsp:nvSpPr>
      <dsp:spPr>
        <a:xfrm rot="5400000">
          <a:off x="5649888" y="-1245712"/>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Define Objectives</a:t>
          </a:r>
        </a:p>
        <a:p>
          <a:pPr marL="228600" lvl="1" indent="-228600" algn="l" defTabSz="889000">
            <a:lnSpc>
              <a:spcPct val="90000"/>
            </a:lnSpc>
            <a:spcBef>
              <a:spcPct val="0"/>
            </a:spcBef>
            <a:spcAft>
              <a:spcPct val="15000"/>
            </a:spcAft>
            <a:buChar char="•"/>
          </a:pPr>
          <a:r>
            <a:rPr lang="en-US" sz="2000" kern="1200" dirty="0">
              <a:latin typeface="+mj-lt"/>
            </a:rPr>
            <a:t>Identify Data Sources</a:t>
          </a:r>
        </a:p>
      </dsp:txBody>
      <dsp:txXfrm rot="-5400000">
        <a:off x="4275636" y="177616"/>
        <a:ext cx="3704749" cy="907169"/>
      </dsp:txXfrm>
    </dsp:sp>
    <dsp:sp modelId="{FCE31E78-3DAC-4692-A464-D0C835B3F5C0}">
      <dsp:nvSpPr>
        <dsp:cNvPr id="0" name=""/>
        <dsp:cNvSpPr/>
      </dsp:nvSpPr>
      <dsp:spPr>
        <a:xfrm>
          <a:off x="111" y="2874"/>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Business Understanding</a:t>
          </a:r>
        </a:p>
      </dsp:txBody>
      <dsp:txXfrm>
        <a:off x="61456" y="64219"/>
        <a:ext cx="4152834" cy="1133961"/>
      </dsp:txXfrm>
    </dsp:sp>
    <dsp:sp modelId="{B35FD520-5FF0-41BD-887C-8B0911FFCB12}">
      <dsp:nvSpPr>
        <dsp:cNvPr id="0" name=""/>
        <dsp:cNvSpPr/>
      </dsp:nvSpPr>
      <dsp:spPr>
        <a:xfrm rot="5400000">
          <a:off x="5649888" y="73771"/>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Ingest Data</a:t>
          </a:r>
        </a:p>
        <a:p>
          <a:pPr marL="228600" lvl="1" indent="-228600" algn="l" defTabSz="889000">
            <a:lnSpc>
              <a:spcPct val="90000"/>
            </a:lnSpc>
            <a:spcBef>
              <a:spcPct val="0"/>
            </a:spcBef>
            <a:spcAft>
              <a:spcPct val="15000"/>
            </a:spcAft>
            <a:buChar char="•"/>
          </a:pPr>
          <a:r>
            <a:rPr lang="en-US" sz="2000" kern="1200" dirty="0">
              <a:latin typeface="+mj-lt"/>
            </a:rPr>
            <a:t>Explore Data</a:t>
          </a:r>
        </a:p>
        <a:p>
          <a:pPr marL="228600" lvl="1" indent="-228600" algn="l" defTabSz="889000">
            <a:lnSpc>
              <a:spcPct val="90000"/>
            </a:lnSpc>
            <a:spcBef>
              <a:spcPct val="0"/>
            </a:spcBef>
            <a:spcAft>
              <a:spcPct val="15000"/>
            </a:spcAft>
            <a:buChar char="•"/>
          </a:pPr>
          <a:r>
            <a:rPr lang="en-US" sz="2000" kern="1200" dirty="0">
              <a:latin typeface="+mj-lt"/>
            </a:rPr>
            <a:t>Update Data</a:t>
          </a:r>
        </a:p>
      </dsp:txBody>
      <dsp:txXfrm rot="-5400000">
        <a:off x="4275636" y="1497099"/>
        <a:ext cx="3704749" cy="907169"/>
      </dsp:txXfrm>
    </dsp:sp>
    <dsp:sp modelId="{3E606814-09D9-4B4C-8F40-66F312978EEB}">
      <dsp:nvSpPr>
        <dsp:cNvPr id="0" name=""/>
        <dsp:cNvSpPr/>
      </dsp:nvSpPr>
      <dsp:spPr>
        <a:xfrm>
          <a:off x="111" y="1322358"/>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ata Acquisition and Understanding</a:t>
          </a:r>
        </a:p>
      </dsp:txBody>
      <dsp:txXfrm>
        <a:off x="61456" y="1383703"/>
        <a:ext cx="4152834" cy="1133961"/>
      </dsp:txXfrm>
    </dsp:sp>
    <dsp:sp modelId="{EF322D6C-1CB6-431F-8B42-A64D898D2824}">
      <dsp:nvSpPr>
        <dsp:cNvPr id="0" name=""/>
        <dsp:cNvSpPr/>
      </dsp:nvSpPr>
      <dsp:spPr>
        <a:xfrm rot="5400000">
          <a:off x="5649888" y="1393255"/>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Feature Selection</a:t>
          </a:r>
        </a:p>
        <a:p>
          <a:pPr marL="228600" lvl="1" indent="-228600" algn="l" defTabSz="889000">
            <a:lnSpc>
              <a:spcPct val="90000"/>
            </a:lnSpc>
            <a:spcBef>
              <a:spcPct val="0"/>
            </a:spcBef>
            <a:spcAft>
              <a:spcPct val="15000"/>
            </a:spcAft>
            <a:buChar char="•"/>
          </a:pPr>
          <a:r>
            <a:rPr lang="en-US" sz="2000" kern="1200" dirty="0">
              <a:latin typeface="+mj-lt"/>
            </a:rPr>
            <a:t>Create and Train Model</a:t>
          </a:r>
        </a:p>
      </dsp:txBody>
      <dsp:txXfrm rot="-5400000">
        <a:off x="4275636" y="2816583"/>
        <a:ext cx="3704749" cy="907169"/>
      </dsp:txXfrm>
    </dsp:sp>
    <dsp:sp modelId="{D8CBC06D-2193-488F-8EDE-5FAA991E0B6B}">
      <dsp:nvSpPr>
        <dsp:cNvPr id="0" name=""/>
        <dsp:cNvSpPr/>
      </dsp:nvSpPr>
      <dsp:spPr>
        <a:xfrm>
          <a:off x="111" y="2641842"/>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Modeling</a:t>
          </a:r>
        </a:p>
      </dsp:txBody>
      <dsp:txXfrm>
        <a:off x="61456" y="2703187"/>
        <a:ext cx="4152834" cy="1133961"/>
      </dsp:txXfrm>
    </dsp:sp>
    <dsp:sp modelId="{DE1FE771-1582-4775-9E8F-B758D933162D}">
      <dsp:nvSpPr>
        <dsp:cNvPr id="0" name=""/>
        <dsp:cNvSpPr/>
      </dsp:nvSpPr>
      <dsp:spPr>
        <a:xfrm rot="5400000">
          <a:off x="5649888" y="2712739"/>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Operationalize</a:t>
          </a:r>
        </a:p>
      </dsp:txBody>
      <dsp:txXfrm rot="-5400000">
        <a:off x="4275636" y="4136067"/>
        <a:ext cx="3704749" cy="907169"/>
      </dsp:txXfrm>
    </dsp:sp>
    <dsp:sp modelId="{C971C0CD-D6D6-4BD2-B517-483DD2B85EA0}">
      <dsp:nvSpPr>
        <dsp:cNvPr id="0" name=""/>
        <dsp:cNvSpPr/>
      </dsp:nvSpPr>
      <dsp:spPr>
        <a:xfrm>
          <a:off x="111" y="3961326"/>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Deployment</a:t>
          </a:r>
        </a:p>
      </dsp:txBody>
      <dsp:txXfrm>
        <a:off x="61456" y="4022671"/>
        <a:ext cx="4152834" cy="1133961"/>
      </dsp:txXfrm>
    </dsp:sp>
    <dsp:sp modelId="{E36319A3-4DDD-4596-A48B-3AFC2FB82E08}">
      <dsp:nvSpPr>
        <dsp:cNvPr id="0" name=""/>
        <dsp:cNvSpPr/>
      </dsp:nvSpPr>
      <dsp:spPr>
        <a:xfrm rot="5400000">
          <a:off x="5649888" y="4032223"/>
          <a:ext cx="1005321" cy="3753825"/>
        </a:xfrm>
        <a:prstGeom prst="round2SameRect">
          <a:avLst/>
        </a:prstGeom>
        <a:solidFill>
          <a:schemeClr val="dk2">
            <a:alpha val="90000"/>
            <a:tint val="40000"/>
            <a:hueOff val="0"/>
            <a:satOff val="0"/>
            <a:lumOff val="0"/>
            <a:alphaOff val="0"/>
          </a:schemeClr>
        </a:solidFill>
        <a:ln w="25400" cap="rnd"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mj-lt"/>
            </a:rPr>
            <a:t>Testing and Validation</a:t>
          </a:r>
        </a:p>
        <a:p>
          <a:pPr marL="228600" lvl="1" indent="-228600" algn="l" defTabSz="889000">
            <a:lnSpc>
              <a:spcPct val="90000"/>
            </a:lnSpc>
            <a:spcBef>
              <a:spcPct val="0"/>
            </a:spcBef>
            <a:spcAft>
              <a:spcPct val="15000"/>
            </a:spcAft>
            <a:buChar char="•"/>
          </a:pPr>
          <a:r>
            <a:rPr lang="en-US" sz="2000" kern="1200" dirty="0">
              <a:latin typeface="+mj-lt"/>
            </a:rPr>
            <a:t>Handoff</a:t>
          </a:r>
        </a:p>
        <a:p>
          <a:pPr marL="228600" lvl="1" indent="-228600" algn="l" defTabSz="889000">
            <a:lnSpc>
              <a:spcPct val="90000"/>
            </a:lnSpc>
            <a:spcBef>
              <a:spcPct val="0"/>
            </a:spcBef>
            <a:spcAft>
              <a:spcPct val="15000"/>
            </a:spcAft>
            <a:buChar char="•"/>
          </a:pPr>
          <a:r>
            <a:rPr lang="en-US" sz="2000" kern="1200" dirty="0">
              <a:latin typeface="+mj-lt"/>
            </a:rPr>
            <a:t>Re-train and re-score</a:t>
          </a:r>
        </a:p>
      </dsp:txBody>
      <dsp:txXfrm rot="-5400000">
        <a:off x="4275636" y="5455551"/>
        <a:ext cx="3704749" cy="907169"/>
      </dsp:txXfrm>
    </dsp:sp>
    <dsp:sp modelId="{C5DBDEB5-64EF-486D-ADE8-9AD2774135B2}">
      <dsp:nvSpPr>
        <dsp:cNvPr id="0" name=""/>
        <dsp:cNvSpPr/>
      </dsp:nvSpPr>
      <dsp:spPr>
        <a:xfrm>
          <a:off x="111" y="5280810"/>
          <a:ext cx="4275524" cy="1256651"/>
        </a:xfrm>
        <a:prstGeom prst="roundRect">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mj-lt"/>
            </a:rPr>
            <a:t>Customer Acceptance</a:t>
          </a:r>
        </a:p>
      </dsp:txBody>
      <dsp:txXfrm>
        <a:off x="61456" y="5342155"/>
        <a:ext cx="4152834" cy="1133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1AABC-2A80-4D18-AB70-CD76795B5F08}">
      <dsp:nvSpPr>
        <dsp:cNvPr id="0" name=""/>
        <dsp:cNvSpPr/>
      </dsp:nvSpPr>
      <dsp:spPr>
        <a:xfrm>
          <a:off x="0" y="0"/>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Cortana, Cognitive Services, Bot Framework</a:t>
          </a:r>
        </a:p>
      </dsp:txBody>
      <dsp:txXfrm>
        <a:off x="1675952" y="0"/>
        <a:ext cx="6425008" cy="557603"/>
      </dsp:txXfrm>
    </dsp:sp>
    <dsp:sp modelId="{36A321AB-B414-459A-92C0-C559ED15EF30}">
      <dsp:nvSpPr>
        <dsp:cNvPr id="0" name=""/>
        <dsp:cNvSpPr/>
      </dsp:nvSpPr>
      <dsp:spPr>
        <a:xfrm>
          <a:off x="46598" y="53364"/>
          <a:ext cx="974626" cy="446083"/>
        </a:xfrm>
        <a:prstGeom prst="roundRect">
          <a:avLst>
            <a:gd name="adj" fmla="val 10000"/>
          </a:avLst>
        </a:prstGeom>
        <a:blipFill rotWithShape="1">
          <a:blip xmlns:r="http://schemas.openxmlformats.org/officeDocument/2006/relationships" r:embed="rId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FDBD55-6070-4E85-AA3A-6F7522DCF49F}">
      <dsp:nvSpPr>
        <dsp:cNvPr id="0" name=""/>
        <dsp:cNvSpPr/>
      </dsp:nvSpPr>
      <dsp:spPr>
        <a:xfrm>
          <a:off x="0" y="613364"/>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Power BI</a:t>
          </a:r>
        </a:p>
      </dsp:txBody>
      <dsp:txXfrm>
        <a:off x="1675952" y="613364"/>
        <a:ext cx="6425008" cy="557603"/>
      </dsp:txXfrm>
    </dsp:sp>
    <dsp:sp modelId="{49D4FFC3-C990-4FEA-ADFC-9F2B001FE866}">
      <dsp:nvSpPr>
        <dsp:cNvPr id="0" name=""/>
        <dsp:cNvSpPr/>
      </dsp:nvSpPr>
      <dsp:spPr>
        <a:xfrm>
          <a:off x="46598" y="666729"/>
          <a:ext cx="974626" cy="446083"/>
        </a:xfrm>
        <a:prstGeom prst="roundRect">
          <a:avLst>
            <a:gd name="adj" fmla="val 10000"/>
          </a:avLst>
        </a:prstGeom>
        <a:blipFill rotWithShape="1">
          <a:blip xmlns:r="http://schemas.openxmlformats.org/officeDocument/2006/relationships" r:embed="rId2"/>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A218B0-FF83-4B81-B386-3F5787FB84AE}">
      <dsp:nvSpPr>
        <dsp:cNvPr id="0" name=""/>
        <dsp:cNvSpPr/>
      </dsp:nvSpPr>
      <dsp:spPr>
        <a:xfrm>
          <a:off x="0" y="122672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tream Analytics</a:t>
          </a:r>
        </a:p>
      </dsp:txBody>
      <dsp:txXfrm>
        <a:off x="1675952" y="1226728"/>
        <a:ext cx="6425008" cy="557603"/>
      </dsp:txXfrm>
    </dsp:sp>
    <dsp:sp modelId="{1DF032E0-13E8-404C-A3CD-F57FFFAF656E}">
      <dsp:nvSpPr>
        <dsp:cNvPr id="0" name=""/>
        <dsp:cNvSpPr/>
      </dsp:nvSpPr>
      <dsp:spPr>
        <a:xfrm>
          <a:off x="46598" y="1280093"/>
          <a:ext cx="974626" cy="446083"/>
        </a:xfrm>
        <a:prstGeom prst="roundRect">
          <a:avLst>
            <a:gd name="adj" fmla="val 10000"/>
          </a:avLst>
        </a:prstGeom>
        <a:blipFill rotWithShape="1">
          <a:blip xmlns:r="http://schemas.openxmlformats.org/officeDocument/2006/relationships" r:embed="rId3"/>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74900C-2DC2-4F9C-83EA-B674B8C455C3}">
      <dsp:nvSpPr>
        <dsp:cNvPr id="0" name=""/>
        <dsp:cNvSpPr/>
      </dsp:nvSpPr>
      <dsp:spPr>
        <a:xfrm>
          <a:off x="0" y="184009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HDInsight</a:t>
          </a:r>
        </a:p>
      </dsp:txBody>
      <dsp:txXfrm>
        <a:off x="1675952" y="1840092"/>
        <a:ext cx="6425008" cy="557603"/>
      </dsp:txXfrm>
    </dsp:sp>
    <dsp:sp modelId="{EB1CC876-66DD-4A75-B47F-79507A427898}">
      <dsp:nvSpPr>
        <dsp:cNvPr id="0" name=""/>
        <dsp:cNvSpPr/>
      </dsp:nvSpPr>
      <dsp:spPr>
        <a:xfrm>
          <a:off x="46598" y="1893457"/>
          <a:ext cx="974626" cy="446083"/>
        </a:xfrm>
        <a:prstGeom prst="roundRect">
          <a:avLst>
            <a:gd name="adj" fmla="val 10000"/>
          </a:avLst>
        </a:prstGeom>
        <a:blipFill rotWithShape="1">
          <a:blip xmlns:r="http://schemas.openxmlformats.org/officeDocument/2006/relationships" r:embed="rId4"/>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F30434-915D-401A-842A-C3A44E75A979}">
      <dsp:nvSpPr>
        <dsp:cNvPr id="0" name=""/>
        <dsp:cNvSpPr/>
      </dsp:nvSpPr>
      <dsp:spPr>
        <a:xfrm>
          <a:off x="0" y="2453456"/>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Azure Machine Learning (MRS)</a:t>
          </a:r>
        </a:p>
      </dsp:txBody>
      <dsp:txXfrm>
        <a:off x="1675952" y="2453456"/>
        <a:ext cx="6425008" cy="557603"/>
      </dsp:txXfrm>
    </dsp:sp>
    <dsp:sp modelId="{950174B9-C3EC-407B-9908-DBD126F0CF41}">
      <dsp:nvSpPr>
        <dsp:cNvPr id="0" name=""/>
        <dsp:cNvSpPr/>
      </dsp:nvSpPr>
      <dsp:spPr>
        <a:xfrm>
          <a:off x="46598" y="2506821"/>
          <a:ext cx="974626" cy="446083"/>
        </a:xfrm>
        <a:prstGeom prst="roundRect">
          <a:avLst>
            <a:gd name="adj" fmla="val 10000"/>
          </a:avLst>
        </a:prstGeom>
        <a:blipFill rotWithShape="1">
          <a:blip xmlns:r="http://schemas.openxmlformats.org/officeDocument/2006/relationships" r:embed="rId5"/>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51AC9A-80EA-4040-A601-D0B64C634769}">
      <dsp:nvSpPr>
        <dsp:cNvPr id="0" name=""/>
        <dsp:cNvSpPr/>
      </dsp:nvSpPr>
      <dsp:spPr>
        <a:xfrm>
          <a:off x="0" y="3066821"/>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SQL Data Warehouse (SQL DB, Document DB)</a:t>
          </a:r>
        </a:p>
      </dsp:txBody>
      <dsp:txXfrm>
        <a:off x="1675952" y="3066821"/>
        <a:ext cx="6425008" cy="557603"/>
      </dsp:txXfrm>
    </dsp:sp>
    <dsp:sp modelId="{652C01DF-6697-4345-A0E8-6D9D71FC067D}">
      <dsp:nvSpPr>
        <dsp:cNvPr id="0" name=""/>
        <dsp:cNvSpPr/>
      </dsp:nvSpPr>
      <dsp:spPr>
        <a:xfrm>
          <a:off x="46598" y="3120186"/>
          <a:ext cx="974626" cy="446083"/>
        </a:xfrm>
        <a:prstGeom prst="roundRect">
          <a:avLst>
            <a:gd name="adj" fmla="val 10000"/>
          </a:avLst>
        </a:prstGeom>
        <a:blipFill rotWithShape="1">
          <a:blip xmlns:r="http://schemas.openxmlformats.org/officeDocument/2006/relationships" r:embed="rId6"/>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09D7A6-CC75-4C85-8991-EB5D7E28A32C}">
      <dsp:nvSpPr>
        <dsp:cNvPr id="0" name=""/>
        <dsp:cNvSpPr/>
      </dsp:nvSpPr>
      <dsp:spPr>
        <a:xfrm>
          <a:off x="0" y="3680185"/>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Lake</a:t>
          </a:r>
        </a:p>
      </dsp:txBody>
      <dsp:txXfrm>
        <a:off x="1675952" y="3680185"/>
        <a:ext cx="6425008" cy="557603"/>
      </dsp:txXfrm>
    </dsp:sp>
    <dsp:sp modelId="{3D67FE96-9C43-493B-A35A-BE8C89C56380}">
      <dsp:nvSpPr>
        <dsp:cNvPr id="0" name=""/>
        <dsp:cNvSpPr/>
      </dsp:nvSpPr>
      <dsp:spPr>
        <a:xfrm>
          <a:off x="56319" y="3723834"/>
          <a:ext cx="974626" cy="446083"/>
        </a:xfrm>
        <a:prstGeom prst="roundRect">
          <a:avLst>
            <a:gd name="adj" fmla="val 10000"/>
          </a:avLst>
        </a:prstGeom>
        <a:blipFill rotWithShape="1">
          <a:blip xmlns:r="http://schemas.openxmlformats.org/officeDocument/2006/relationships" r:embed="rId7"/>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3B67C-F1DA-4AE8-B977-A72746B0B55A}">
      <dsp:nvSpPr>
        <dsp:cNvPr id="0" name=""/>
        <dsp:cNvSpPr/>
      </dsp:nvSpPr>
      <dsp:spPr>
        <a:xfrm>
          <a:off x="0" y="4293549"/>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Event Hubs</a:t>
          </a:r>
        </a:p>
      </dsp:txBody>
      <dsp:txXfrm>
        <a:off x="1675952" y="4293549"/>
        <a:ext cx="6425008" cy="557603"/>
      </dsp:txXfrm>
    </dsp:sp>
    <dsp:sp modelId="{2B57F23D-5CBE-4272-A6F4-7FAA825DD5F1}">
      <dsp:nvSpPr>
        <dsp:cNvPr id="0" name=""/>
        <dsp:cNvSpPr/>
      </dsp:nvSpPr>
      <dsp:spPr>
        <a:xfrm>
          <a:off x="46598" y="4337198"/>
          <a:ext cx="974626" cy="446083"/>
        </a:xfrm>
        <a:prstGeom prst="roundRect">
          <a:avLst>
            <a:gd name="adj" fmla="val 10000"/>
          </a:avLst>
        </a:prstGeom>
        <a:blipFill rotWithShape="1">
          <a:blip xmlns:r="http://schemas.openxmlformats.org/officeDocument/2006/relationships" r:embed="rId8"/>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7D94F9-EF30-4E20-8074-E413B239BE21}">
      <dsp:nvSpPr>
        <dsp:cNvPr id="0" name=""/>
        <dsp:cNvSpPr/>
      </dsp:nvSpPr>
      <dsp:spPr>
        <a:xfrm>
          <a:off x="0" y="4906913"/>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Factory</a:t>
          </a:r>
        </a:p>
      </dsp:txBody>
      <dsp:txXfrm>
        <a:off x="1675952" y="4906913"/>
        <a:ext cx="6425008" cy="557603"/>
      </dsp:txXfrm>
    </dsp:sp>
    <dsp:sp modelId="{345EE191-2927-4C04-BBA1-919BF1F7941C}">
      <dsp:nvSpPr>
        <dsp:cNvPr id="0" name=""/>
        <dsp:cNvSpPr/>
      </dsp:nvSpPr>
      <dsp:spPr>
        <a:xfrm>
          <a:off x="46598" y="4960278"/>
          <a:ext cx="974626" cy="446083"/>
        </a:xfrm>
        <a:prstGeom prst="roundRect">
          <a:avLst>
            <a:gd name="adj" fmla="val 10000"/>
          </a:avLst>
        </a:prstGeom>
        <a:blipFill rotWithShape="1">
          <a:blip xmlns:r="http://schemas.openxmlformats.org/officeDocument/2006/relationships" r:embed="rId9"/>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FD6BEC-2BE4-4D3B-9A53-4987D8EC21AC}">
      <dsp:nvSpPr>
        <dsp:cNvPr id="0" name=""/>
        <dsp:cNvSpPr/>
      </dsp:nvSpPr>
      <dsp:spPr>
        <a:xfrm>
          <a:off x="0" y="5520278"/>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Data Catalog</a:t>
          </a:r>
        </a:p>
      </dsp:txBody>
      <dsp:txXfrm>
        <a:off x="1675952" y="5520278"/>
        <a:ext cx="6425008" cy="557603"/>
      </dsp:txXfrm>
    </dsp:sp>
    <dsp:sp modelId="{D2F6CFBC-E310-4008-BC7E-CB6B12D9A319}">
      <dsp:nvSpPr>
        <dsp:cNvPr id="0" name=""/>
        <dsp:cNvSpPr/>
      </dsp:nvSpPr>
      <dsp:spPr>
        <a:xfrm>
          <a:off x="46598" y="5573643"/>
          <a:ext cx="974626" cy="446083"/>
        </a:xfrm>
        <a:prstGeom prst="roundRect">
          <a:avLst>
            <a:gd name="adj" fmla="val 10000"/>
          </a:avLst>
        </a:prstGeom>
        <a:blipFill rotWithShape="1">
          <a:blip xmlns:r="http://schemas.openxmlformats.org/officeDocument/2006/relationships" r:embed="rId10"/>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D75B96-0BDF-4D45-9CDA-670E68961379}">
      <dsp:nvSpPr>
        <dsp:cNvPr id="0" name=""/>
        <dsp:cNvSpPr/>
      </dsp:nvSpPr>
      <dsp:spPr>
        <a:xfrm>
          <a:off x="0" y="6133642"/>
          <a:ext cx="8100961" cy="557603"/>
        </a:xfrm>
        <a:prstGeom prst="roundRect">
          <a:avLst>
            <a:gd name="adj" fmla="val 10000"/>
          </a:avLst>
        </a:prstGeom>
        <a:solidFill>
          <a:schemeClr val="dk2">
            <a:hueOff val="0"/>
            <a:satOff val="0"/>
            <a:lumOff val="0"/>
            <a:alphaOff val="0"/>
          </a:schemeClr>
        </a:solid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mj-lt"/>
            </a:rPr>
            <a:t>Microsoft Azure</a:t>
          </a:r>
        </a:p>
      </dsp:txBody>
      <dsp:txXfrm>
        <a:off x="1675952" y="6133642"/>
        <a:ext cx="6425008" cy="557603"/>
      </dsp:txXfrm>
    </dsp:sp>
    <dsp:sp modelId="{B2B9AF7E-0611-4D90-B154-64C9BDFC0B76}">
      <dsp:nvSpPr>
        <dsp:cNvPr id="0" name=""/>
        <dsp:cNvSpPr/>
      </dsp:nvSpPr>
      <dsp:spPr>
        <a:xfrm>
          <a:off x="46598" y="6187007"/>
          <a:ext cx="974626" cy="446083"/>
        </a:xfrm>
        <a:prstGeom prst="roundRect">
          <a:avLst>
            <a:gd name="adj" fmla="val 10000"/>
          </a:avLst>
        </a:prstGeom>
        <a:blipFill rotWithShape="1">
          <a:blip xmlns:r="http://schemas.openxmlformats.org/officeDocument/2006/relationships" r:embed="rId11"/>
          <a:stretch>
            <a:fillRect/>
          </a:stretch>
        </a:blipFill>
        <a:ln w="25400" cap="rnd"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14/2017 8:0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2" name="Notes Placeholder 11"/>
          <p:cNvSpPr>
            <a:spLocks noGrp="1"/>
          </p:cNvSpPr>
          <p:nvPr>
            <p:ph type="body" sz="quarter" idx="3"/>
          </p:nvPr>
        </p:nvSpPr>
        <p:spPr>
          <a:xfrm>
            <a:off x="381000" y="4321432"/>
            <a:ext cx="6096000" cy="413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pic>
        <p:nvPicPr>
          <p:cNvPr id="2" name="Picture 1"/>
          <p:cNvPicPr>
            <a:picLocks noChangeAspect="1"/>
          </p:cNvPicPr>
          <p:nvPr/>
        </p:nvPicPr>
        <p:blipFill>
          <a:blip r:embed="rId2"/>
          <a:stretch>
            <a:fillRect/>
          </a:stretch>
        </p:blipFill>
        <p:spPr>
          <a:xfrm>
            <a:off x="381000" y="187552"/>
            <a:ext cx="1926660" cy="243112"/>
          </a:xfrm>
          <a:prstGeom prst="rect">
            <a:avLst/>
          </a:prstGeom>
        </p:spPr>
      </p:pic>
      <p:sp>
        <p:nvSpPr>
          <p:cNvPr id="3" name="Rectangle 2"/>
          <p:cNvSpPr/>
          <p:nvPr/>
        </p:nvSpPr>
        <p:spPr>
          <a:xfrm>
            <a:off x="2566930" y="202169"/>
            <a:ext cx="3910070" cy="276999"/>
          </a:xfrm>
          <a:prstGeom prst="rect">
            <a:avLst/>
          </a:prstGeom>
        </p:spPr>
        <p:txBody>
          <a:bodyPr wrap="square">
            <a:spAutoFit/>
          </a:bodyPr>
          <a:lstStyle/>
          <a:p>
            <a:pPr algn="r"/>
            <a:r>
              <a:rPr lang="en-US" sz="1200" b="1" dirty="0">
                <a:solidFill>
                  <a:schemeClr val="accent6">
                    <a:lumMod val="75000"/>
                  </a:schemeClr>
                </a:solidFill>
                <a:effectLst/>
                <a:latin typeface="Calibri" panose="020F0502020204030204" pitchFamily="34" charset="0"/>
                <a:ea typeface="SimSun" panose="02010600030101010101" pitchFamily="2" charset="-122"/>
                <a:cs typeface="Arial" panose="020B0604020202020204" pitchFamily="34" charset="0"/>
              </a:rPr>
              <a:t>Cortana Intelligence Suite Workshop Class Notebook</a:t>
            </a:r>
            <a:endParaRPr lang="en-US" sz="2800" b="1" dirty="0">
              <a:solidFill>
                <a:schemeClr val="accent6">
                  <a:lumMod val="75000"/>
                </a:schemeClr>
              </a:solidFill>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18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18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ortanaanalytics.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upport.office.com/en-us/article/Connect-to-Microsoft-Azure-Blob-Storage-Power-Query-f8165faa-4589-47b1-86b6-7015b330d13e?ui=en-US&amp;rs=en-US&amp;ad=US&amp;fromAR=1"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ocial.technet.microsoft.com/wiki/contents/articles/2128.azure-and-sql-database-tutorials-tutorial-1-using-azure-web-role-and-azure-table-service.aspx"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zure.microsoft.com/en-us/documentation/articles/sql-database-get-started/"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msdn.microsoft.com/en-us/library/hh272693(v=vs.103).aspx" TargetMode="External"/><Relationship Id="rId4" Type="http://schemas.openxmlformats.org/officeDocument/2006/relationships/hyperlink" Target="http://www.connectionstrings.com/sql-azure/"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azure.microsoft.com/en-us/documentation/articles/storage-dotnet-how-to-use-blob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sdn.microsoft.com/en-us/library/azure/dd179355.aspx"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sv-europe.com/crisp-dm-methodology/"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azure.microsoft.com/en-us/documentation/articles/data-science-process-walkthroughs/" TargetMode="External"/><Relationship Id="rId5" Type="http://schemas.openxmlformats.org/officeDocument/2006/relationships/hyperlink" Target="https://azure.microsoft.com/en-us/documentation/learning-paths/cortana-analytics-process/" TargetMode="External"/><Relationship Id="rId4" Type="http://schemas.openxmlformats.org/officeDocument/2006/relationships/hyperlink" Target="https://azure.microsoft.com/en-us/documentation/articles/data-science-process-overview/"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azure.microsoft.com/en-us/campaigns/data-lake/" TargetMode="External"/><Relationship Id="rId13" Type="http://schemas.openxmlformats.org/officeDocument/2006/relationships/hyperlink" Target="http://azure.microsoft.com/en-us/services/stream-analytics/" TargetMode="External"/><Relationship Id="rId18" Type="http://schemas.openxmlformats.org/officeDocument/2006/relationships/hyperlink" Target="https://www.microsoft.com/cognitive-services" TargetMode="External"/><Relationship Id="rId3" Type="http://schemas.openxmlformats.org/officeDocument/2006/relationships/hyperlink" Target="http://microsoftazure.com/" TargetMode="External"/><Relationship Id="rId21" Type="http://schemas.openxmlformats.org/officeDocument/2006/relationships/hyperlink" Target="https://gallery.cortanaintelligence.com/" TargetMode="External"/><Relationship Id="rId7" Type="http://schemas.openxmlformats.org/officeDocument/2006/relationships/hyperlink" Target="http://azure.microsoft.com/en-us/services/event-hubs/" TargetMode="External"/><Relationship Id="rId12" Type="http://schemas.openxmlformats.org/officeDocument/2006/relationships/hyperlink" Target="http://azure.microsoft.com/en-us/services/hdinsight/" TargetMode="External"/><Relationship Id="rId17" Type="http://schemas.openxmlformats.org/officeDocument/2006/relationships/hyperlink" Target="https://developer.microsoft.com/en-us/Cortana" TargetMode="External"/><Relationship Id="rId2" Type="http://schemas.openxmlformats.org/officeDocument/2006/relationships/slide" Target="../slides/slide5.xml"/><Relationship Id="rId16" Type="http://schemas.openxmlformats.org/officeDocument/2006/relationships/hyperlink" Target="https://blogs.windows.com/buildingapps/2015/08/25/using-cortana-to-interact-with-your-customers-10-by-10/" TargetMode="External"/><Relationship Id="rId20" Type="http://schemas.openxmlformats.org/officeDocument/2006/relationships/hyperlink" Target="https://www.microsoft.com/en-us/server-cloud/cortana-intelligence-suite/what-is-cortana-intelligence.aspx" TargetMode="External"/><Relationship Id="rId1" Type="http://schemas.openxmlformats.org/officeDocument/2006/relationships/notesMaster" Target="../notesMasters/notesMaster1.xml"/><Relationship Id="rId6" Type="http://schemas.openxmlformats.org/officeDocument/2006/relationships/hyperlink" Target="http://azure.microsoft.com/en-us/services/data-factory/" TargetMode="External"/><Relationship Id="rId11" Type="http://schemas.openxmlformats.org/officeDocument/2006/relationships/hyperlink" Target="http://azure.microsoft.com/en-us/services/machine-learning/" TargetMode="External"/><Relationship Id="rId5" Type="http://schemas.openxmlformats.org/officeDocument/2006/relationships/hyperlink" Target="http://azure.microsoft.com/en-us/services/data-catalog" TargetMode="External"/><Relationship Id="rId15" Type="http://schemas.openxmlformats.org/officeDocument/2006/relationships/hyperlink" Target="http://blogs.windows.com/buildingapps/2014/09/23/cortana-integration-and-speech-recognition-new-code-samples/" TargetMode="External"/><Relationship Id="rId10" Type="http://schemas.openxmlformats.org/officeDocument/2006/relationships/hyperlink" Target="http://azure.microsoft.com/en-us/services/sql-data-warehouse/" TargetMode="External"/><Relationship Id="rId19" Type="http://schemas.openxmlformats.org/officeDocument/2006/relationships/hyperlink" Target="https://dev.botframework.com/" TargetMode="External"/><Relationship Id="rId4" Type="http://schemas.openxmlformats.org/officeDocument/2006/relationships/hyperlink" Target="https://azure.microsoft.com/en-us/documentation/services/storage/" TargetMode="External"/><Relationship Id="rId9" Type="http://schemas.openxmlformats.org/officeDocument/2006/relationships/hyperlink" Target="https://azure.microsoft.com/en-us/services/documentdb/" TargetMode="External"/><Relationship Id="rId14" Type="http://schemas.openxmlformats.org/officeDocument/2006/relationships/hyperlink" Target="https://powerbi.microsoft.com/" TargetMode="External"/><Relationship Id="rId22" Type="http://schemas.openxmlformats.org/officeDocument/2006/relationships/hyperlink" Target="https://caqs.azure.net/#gallery"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walkthrough-4-train-and-evaluate-model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zure.microsoft.com/en-us/documentation/articles/machine-learning-algorithm-choice/" TargetMode="External"/><Relationship Id="rId7" Type="http://schemas.openxmlformats.org/officeDocument/2006/relationships/hyperlink" Target="https://msdn.microsoft.com/en-us/library/azure/dn905995.aspx"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msdn.microsoft.com/en-us/library/azure/dn905970.aspx" TargetMode="External"/><Relationship Id="rId5" Type="http://schemas.openxmlformats.org/officeDocument/2006/relationships/hyperlink" Target="https://msdn.microsoft.com/en-us/library/azure/dn913055.aspx" TargetMode="External"/><Relationship Id="rId4" Type="http://schemas.openxmlformats.org/officeDocument/2006/relationships/hyperlink" Target="https://msdn.microsoft.com/en-US/library/azure/dn906012.aspx"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sdn.microsoft.com/en-us/library/azure/dn906026.aspx" TargetMode="External"/><Relationship Id="rId7" Type="http://schemas.openxmlformats.org/officeDocument/2006/relationships/hyperlink" Target="https://msdn.microsoft.com/library/azure/e9ad68a7-e91b-4ae6-800e-b5ee7e22cd17"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msdn.microsoft.com/library/azure/927d65ac-3b50-4694-9903-20f6c1672089" TargetMode="External"/><Relationship Id="rId5" Type="http://schemas.openxmlformats.org/officeDocument/2006/relationships/hyperlink" Target="https://msdn.microsoft.com/library/azure/75fb875d-6b86-4d46-8bcc-74261ade5826" TargetMode="External"/><Relationship Id="rId4" Type="http://schemas.openxmlformats.org/officeDocument/2006/relationships/hyperlink" Target="https://azure.microsoft.com/en-us/documentation/articles/machine-learning-evaluate-model-performance/"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azure.microsoft.com/en-us/documentation/services/storag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Main</a:t>
            </a:r>
            <a:r>
              <a:rPr lang="en-US" sz="1800" baseline="0" dirty="0"/>
              <a:t> page: </a:t>
            </a:r>
            <a:r>
              <a:rPr lang="en-US" sz="1800" baseline="0" dirty="0">
                <a:hlinkClick r:id="rId3"/>
              </a:rPr>
              <a:t>http://cortanaanalytics.com</a:t>
            </a:r>
            <a:r>
              <a:rPr lang="en-US" sz="1800" baseline="0" dirty="0"/>
              <a:t> </a:t>
            </a:r>
          </a:p>
          <a:p>
            <a:pPr marL="228600" indent="-228600">
              <a:buFont typeface="+mj-lt"/>
              <a:buAutoNum type="arabicPeriod"/>
            </a:pPr>
            <a:r>
              <a:rPr lang="en-US" sz="1800" baseline="0" dirty="0"/>
              <a:t>To begin this module, you should have: </a:t>
            </a:r>
          </a:p>
          <a:p>
            <a:pPr marL="445862" lvl="1" indent="-228600">
              <a:buFont typeface="+mj-lt"/>
              <a:buAutoNum type="arabicPeriod"/>
            </a:pPr>
            <a:r>
              <a:rPr lang="en-US" sz="1800" baseline="0" dirty="0"/>
              <a:t>Basic Math and Stats skills</a:t>
            </a:r>
          </a:p>
          <a:p>
            <a:pPr marL="445862" lvl="1" indent="-228600">
              <a:buFont typeface="+mj-lt"/>
              <a:buAutoNum type="arabicPeriod"/>
            </a:pPr>
            <a:r>
              <a:rPr lang="en-US" sz="1800" baseline="0" dirty="0"/>
              <a:t>Business and Domain Awareness</a:t>
            </a:r>
          </a:p>
          <a:p>
            <a:pPr marL="445862" lvl="1" indent="-228600">
              <a:buFont typeface="+mj-lt"/>
              <a:buAutoNum type="arabicPeriod"/>
            </a:pPr>
            <a:r>
              <a:rPr lang="en-US" sz="1800" baseline="0" dirty="0"/>
              <a:t>General Computing Background</a:t>
            </a:r>
          </a:p>
          <a:p>
            <a:endParaRPr lang="en-US" sz="180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baseline="0" dirty="0"/>
              <a:t>NOTE: These workbooks contain many resources to lead you through the course, and provide a rich set of references that you can use to learn much more about these topics. If the links do not resolve properly, type the link address in manually in your web browser. If the links have changed or been removed, simply enter the title of the link in a web search engine to find the new location or a corollary reference. </a:t>
            </a:r>
          </a:p>
          <a:p>
            <a:endParaRPr lang="en-US" sz="1800" dirty="0"/>
          </a:p>
          <a:p>
            <a:endParaRPr lang="en-US" sz="1800" dirty="0"/>
          </a:p>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847566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Access and read through this page: </a:t>
            </a:r>
            <a:r>
              <a:rPr lang="en-US" sz="1800" dirty="0">
                <a:hlinkClick r:id="rId3"/>
              </a:rPr>
              <a:t>https://support.office.com/en-us/article/Connect-to-Microsoft-Azure-Blob-Storage-Power-Query-f8165faa-4589-47b1-86b6-7015b330d13e?ui=en-US&amp;rs=en-US&amp;ad=US&amp;fromAR=1</a:t>
            </a:r>
            <a:r>
              <a:rPr lang="en-US" sz="1800" dirty="0"/>
              <a:t> </a:t>
            </a:r>
          </a:p>
          <a:p>
            <a:pPr marL="228600" indent="-228600">
              <a:buFont typeface="+mj-lt"/>
              <a:buAutoNum type="arabicPeriod"/>
            </a:pPr>
            <a:r>
              <a:rPr lang="en-US" sz="1800" dirty="0"/>
              <a:t>Access and read through this page: </a:t>
            </a:r>
            <a:r>
              <a:rPr lang="en-US" sz="1800" dirty="0">
                <a:hlinkClick r:id="rId4"/>
              </a:rPr>
              <a:t>http://social.technet.microsoft.com/wiki/contents/articles/2128.azure-and-sql-database-tutorials-tutorial-1-using-azure-web-role-and-azure-table-service.aspx</a:t>
            </a:r>
            <a:r>
              <a:rPr lang="en-US" sz="1800" dirty="0"/>
              <a:t>  </a:t>
            </a:r>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891113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Optional: On your DVSM, you can connect to Azure SQL DB after you open the firewall. </a:t>
            </a:r>
          </a:p>
          <a:p>
            <a:pPr marL="445862" lvl="1" indent="-228600">
              <a:buFont typeface="+mj-lt"/>
              <a:buAutoNum type="arabicPeriod"/>
            </a:pPr>
            <a:r>
              <a:rPr lang="en-US" sz="1800" dirty="0"/>
              <a:t>Read this for creating a database server and database: </a:t>
            </a:r>
            <a:r>
              <a:rPr lang="en-US" sz="1800" dirty="0">
                <a:hlinkClick r:id="rId3"/>
              </a:rPr>
              <a:t>https://azure.microsoft.com/en-us/documentation/articles/sql-database-get-started/</a:t>
            </a:r>
            <a:r>
              <a:rPr lang="en-US" sz="1800" dirty="0"/>
              <a:t>  </a:t>
            </a:r>
          </a:p>
          <a:p>
            <a:pPr marL="445862" lvl="1" indent="-228600">
              <a:buFont typeface="+mj-lt"/>
              <a:buAutoNum type="arabicPeriod"/>
            </a:pPr>
            <a:r>
              <a:rPr lang="en-US" sz="1800" dirty="0"/>
              <a:t>In the portal, find and record your connection strings: </a:t>
            </a:r>
            <a:r>
              <a:rPr lang="en-US" sz="1800" dirty="0">
                <a:hlinkClick r:id="rId4"/>
              </a:rPr>
              <a:t>http://www.connectionstrings.com/sql-azure/</a:t>
            </a:r>
            <a:r>
              <a:rPr lang="en-US" sz="1800" dirty="0"/>
              <a:t>  </a:t>
            </a:r>
          </a:p>
          <a:p>
            <a:pPr marL="445862" lvl="1" indent="-228600">
              <a:buFont typeface="+mj-lt"/>
              <a:buAutoNum type="arabicPeriod"/>
            </a:pPr>
            <a:r>
              <a:rPr lang="en-US" sz="1800" dirty="0"/>
              <a:t>Read this to connect and browse to a database: </a:t>
            </a:r>
            <a:r>
              <a:rPr lang="en-US" sz="1800" dirty="0">
                <a:hlinkClick r:id="rId5"/>
              </a:rPr>
              <a:t>https://msdn.microsoft.com/en-us/library/hh272693%28v=vs.103%29.aspx</a:t>
            </a:r>
            <a:r>
              <a:rPr lang="en-US" sz="1800" dirty="0"/>
              <a:t>  </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747044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Accessing storage using Code: </a:t>
            </a:r>
            <a:r>
              <a:rPr lang="en-US" dirty="0">
                <a:hlinkClick r:id="rId3"/>
              </a:rPr>
              <a:t>https://azure.microsoft.com/en-us/documentation/articles/storage-dotnet-how-to-use-blobs/</a:t>
            </a:r>
            <a:r>
              <a:rPr lang="en-US" dirty="0"/>
              <a:t> </a:t>
            </a:r>
          </a:p>
          <a:p>
            <a:endParaRPr lang="en-US" dirty="0"/>
          </a:p>
        </p:txBody>
      </p:sp>
      <p:sp>
        <p:nvSpPr>
          <p:cNvPr id="4" name="Slide Number Placeholder 3"/>
          <p:cNvSpPr>
            <a:spLocks noGrp="1"/>
          </p:cNvSpPr>
          <p:nvPr>
            <p:ph type="sldNum" sz="quarter" idx="10"/>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2894844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REST Documentation: </a:t>
            </a:r>
            <a:r>
              <a:rPr lang="en-US" sz="1800" dirty="0">
                <a:hlinkClick r:id="rId3"/>
              </a:rPr>
              <a:t>https://msdn.microsoft.com/en-us/library/azure/dd179355.aspx</a:t>
            </a:r>
            <a:r>
              <a:rPr lang="en-US" sz="1800" dirty="0"/>
              <a:t>  </a:t>
            </a:r>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
        <p:nvSpPr>
          <p:cNvPr id="4" name="Rectangle 3"/>
          <p:cNvSpPr/>
          <p:nvPr/>
        </p:nvSpPr>
        <p:spPr>
          <a:xfrm>
            <a:off x="381000" y="8790702"/>
            <a:ext cx="3429000" cy="230832"/>
          </a:xfrm>
          <a:prstGeom prst="rect">
            <a:avLst/>
          </a:prstGeom>
        </p:spPr>
        <p:txBody>
          <a:bodyPr>
            <a:spAutoFit/>
          </a:bodyPr>
          <a:lstStyle/>
          <a:p>
            <a:r>
              <a:rPr lang="en-US" sz="900" dirty="0"/>
              <a:t>Data Science Blog: https://buckwoody.wordpress.com/</a:t>
            </a:r>
          </a:p>
        </p:txBody>
      </p:sp>
    </p:spTree>
    <p:extLst>
      <p:ext uri="{BB962C8B-B14F-4D97-AF65-F5344CB8AC3E}">
        <p14:creationId xmlns:p14="http://schemas.microsoft.com/office/powerpoint/2010/main" val="9557412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estions?</a:t>
            </a:r>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08708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600" dirty="0"/>
              <a:t>At the</a:t>
            </a:r>
            <a:r>
              <a:rPr lang="en-US" sz="1600" baseline="0" dirty="0"/>
              <a:t> end of this Module, you will:</a:t>
            </a:r>
          </a:p>
          <a:p>
            <a:pPr marL="445862" lvl="1" indent="-228600">
              <a:buFont typeface="+mj-lt"/>
              <a:buAutoNum type="arabicPeriod"/>
            </a:pPr>
            <a:r>
              <a:rPr lang="en-US" sz="1600" baseline="0" dirty="0"/>
              <a:t>Understand how to evaluate the efficacy and performance of an Azure ML experiment</a:t>
            </a:r>
          </a:p>
          <a:p>
            <a:pPr marL="445862" lvl="1" indent="-228600">
              <a:buFont typeface="+mj-lt"/>
              <a:buAutoNum type="arabicPeriod"/>
            </a:pPr>
            <a:r>
              <a:rPr lang="en-US" sz="1600" baseline="0" dirty="0"/>
              <a:t>Understand how to evaluate the efficacy and performance of an MSR ML experiment</a:t>
            </a:r>
          </a:p>
          <a:p>
            <a:pPr marL="445862" lvl="1" indent="-228600">
              <a:buFont typeface="+mj-lt"/>
              <a:buAutoNum type="arabicPeriod"/>
            </a:pPr>
            <a:r>
              <a:rPr lang="en-US" sz="1600" baseline="0" dirty="0"/>
              <a:t>Access and show data from Azure Storage</a:t>
            </a:r>
          </a:p>
          <a:p>
            <a:pPr marL="445862" lvl="1" indent="-228600">
              <a:buFont typeface="+mj-lt"/>
              <a:buAutoNum type="arabicPeriod"/>
            </a:pPr>
            <a:r>
              <a:rPr lang="en-US" sz="1600" baseline="0" dirty="0"/>
              <a:t>Access and Query Azure SQL DB</a:t>
            </a:r>
          </a:p>
          <a:p>
            <a:pPr marL="445862" lvl="1" indent="-228600">
              <a:buFont typeface="+mj-lt"/>
              <a:buAutoNum type="arabicPeriod"/>
            </a:pPr>
            <a:endParaRPr lang="en-US" sz="1600" baseline="0" dirty="0"/>
          </a:p>
          <a:p>
            <a:endParaRPr lang="en-US" sz="1600"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7198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BD414F0-F277-4E0B-80A8-3A8C68434D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6477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sz="1800" dirty="0"/>
              <a:t>This process largely follows the CRISP-DM model: </a:t>
            </a:r>
            <a:r>
              <a:rPr lang="en-US" sz="1800" dirty="0">
                <a:hlinkClick r:id="rId3"/>
              </a:rPr>
              <a:t>http://www.sv-europe.com/crisp-dm-methodology/</a:t>
            </a:r>
            <a:r>
              <a:rPr lang="en-US" sz="1800" dirty="0"/>
              <a:t>  </a:t>
            </a:r>
          </a:p>
          <a:p>
            <a:pPr marL="228600" indent="-228600">
              <a:buFont typeface="+mj-lt"/>
              <a:buAutoNum type="arabicPeriod"/>
            </a:pPr>
            <a:r>
              <a:rPr lang="en-US" sz="1800" dirty="0"/>
              <a:t>It also references the Cortana Intelligence process: </a:t>
            </a:r>
            <a:r>
              <a:rPr lang="en-US" sz="1800" dirty="0">
                <a:hlinkClick r:id="rId4"/>
              </a:rPr>
              <a:t>https://azure.microsoft.com/en-us/documentation/articles/data-science-process-overview/</a:t>
            </a:r>
            <a:r>
              <a:rPr lang="en-US" sz="1800" dirty="0"/>
              <a:t>  </a:t>
            </a:r>
          </a:p>
          <a:p>
            <a:pPr marL="228600" indent="-228600">
              <a:buFont typeface="+mj-lt"/>
              <a:buAutoNum type="arabicPeriod"/>
            </a:pPr>
            <a:r>
              <a:rPr lang="en-US" sz="1800" dirty="0"/>
              <a:t>A complete process diagram</a:t>
            </a:r>
            <a:r>
              <a:rPr lang="en-US" sz="1800" baseline="0" dirty="0"/>
              <a:t> is here: </a:t>
            </a:r>
            <a:r>
              <a:rPr lang="en-US" sz="1800" dirty="0">
                <a:hlinkClick r:id="rId5"/>
              </a:rPr>
              <a:t>https://azure.microsoft.com/en-us/documentation/learning-paths/cortana-analytics-process/</a:t>
            </a:r>
            <a:r>
              <a:rPr lang="en-US" sz="1800" dirty="0"/>
              <a:t> </a:t>
            </a:r>
          </a:p>
          <a:p>
            <a:pPr marL="228600" indent="-228600">
              <a:buFont typeface="+mj-lt"/>
              <a:buAutoNum type="arabicPeriod"/>
            </a:pPr>
            <a:r>
              <a:rPr lang="en-US" sz="1800" dirty="0"/>
              <a:t>Some walkthrough’s of the various services: </a:t>
            </a:r>
            <a:r>
              <a:rPr lang="en-US" sz="1800" dirty="0">
                <a:hlinkClick r:id="rId6"/>
              </a:rPr>
              <a:t>https://azure.microsoft.com/en-us/documentation/articles/data-science-process-walkthroughs/</a:t>
            </a:r>
            <a:r>
              <a:rPr lang="en-US" sz="1800" dirty="0"/>
              <a:t>  </a:t>
            </a:r>
          </a:p>
          <a:p>
            <a:pPr marL="228600" indent="-228600">
              <a:buFont typeface="+mj-lt"/>
              <a:buAutoNum type="arabicPeriod"/>
            </a:pPr>
            <a:r>
              <a:rPr lang="en-US" sz="1800" dirty="0"/>
              <a:t>A</a:t>
            </a:r>
            <a:r>
              <a:rPr lang="en-US" sz="1800" baseline="0" dirty="0"/>
              <a:t>n integrated process and toolset allows for a more close-to-intent deployment</a:t>
            </a:r>
          </a:p>
          <a:p>
            <a:pPr marL="228600" indent="-228600">
              <a:buFont typeface="+mj-lt"/>
              <a:buAutoNum type="arabicPeriod"/>
            </a:pPr>
            <a:r>
              <a:rPr lang="en-US" sz="1800" baseline="0" dirty="0"/>
              <a:t>Iterations are required to close in on the solution – but are harder </a:t>
            </a:r>
            <a:r>
              <a:rPr lang="en-US" sz="1800" baseline="0" dirty="0" err="1"/>
              <a:t>tio</a:t>
            </a:r>
            <a:r>
              <a:rPr lang="en-US" sz="1800" baseline="0" dirty="0"/>
              <a:t> management and monitor</a:t>
            </a:r>
            <a:endParaRPr lang="en-US" sz="1800" dirty="0"/>
          </a:p>
          <a:p>
            <a:pPr marL="228600" indent="-228600">
              <a:buFont typeface="+mj-lt"/>
              <a:buAutoNum type="arabicPeriod"/>
            </a:pPr>
            <a:endParaRPr lang="en-US" sz="1800"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4" name="Rectangle 3"/>
          <p:cNvSpPr/>
          <p:nvPr/>
        </p:nvSpPr>
        <p:spPr>
          <a:xfrm>
            <a:off x="381000" y="8790702"/>
            <a:ext cx="3429000" cy="23083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ysClr val="windowText" lastClr="000000"/>
                </a:solidFill>
                <a:effectLst/>
                <a:uLnTx/>
                <a:uFillTx/>
              </a:rPr>
              <a:t>Data Science Blog: https://buckwoody.wordpress.com/</a:t>
            </a:r>
          </a:p>
        </p:txBody>
      </p:sp>
    </p:spTree>
    <p:extLst>
      <p:ext uri="{BB962C8B-B14F-4D97-AF65-F5344CB8AC3E}">
        <p14:creationId xmlns:p14="http://schemas.microsoft.com/office/powerpoint/2010/main" val="115878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4320" y="4217670"/>
            <a:ext cx="6297930" cy="4594860"/>
          </a:xfrm>
        </p:spPr>
        <p:txBody>
          <a:bodyPr/>
          <a:lstStyle/>
          <a:p>
            <a:pPr marL="228600" indent="-228600">
              <a:buFont typeface="+mj-lt"/>
              <a:buAutoNum type="arabicPeriod"/>
            </a:pPr>
            <a:r>
              <a:rPr lang="en-US" sz="1200" dirty="0"/>
              <a:t>Platform and Storage: Microsoft Azure – </a:t>
            </a:r>
            <a:r>
              <a:rPr lang="en-US" sz="1200" dirty="0">
                <a:hlinkClick r:id="rId3"/>
              </a:rPr>
              <a:t>http://microsoftazure.com</a:t>
            </a:r>
            <a:r>
              <a:rPr lang="en-US" sz="1200" dirty="0"/>
              <a:t>  Storage: </a:t>
            </a:r>
            <a:r>
              <a:rPr lang="en-US" sz="1200" dirty="0">
                <a:hlinkClick r:id="rId4"/>
              </a:rPr>
              <a:t>https://azure.microsoft.com/en-us/documentation/services/storage/</a:t>
            </a:r>
            <a:r>
              <a:rPr lang="en-US" sz="1200" dirty="0"/>
              <a:t>  </a:t>
            </a:r>
            <a:r>
              <a:rPr lang="en-US" sz="1200" b="1" dirty="0"/>
              <a:t>(Host It)</a:t>
            </a:r>
          </a:p>
          <a:p>
            <a:pPr marL="228600" indent="-228600">
              <a:buFont typeface="+mj-lt"/>
              <a:buAutoNum type="arabicPeriod"/>
            </a:pPr>
            <a:r>
              <a:rPr lang="en-US" sz="1200" dirty="0"/>
              <a:t>Azure Data Catalog: </a:t>
            </a:r>
            <a:r>
              <a:rPr lang="en-US" sz="1200" dirty="0">
                <a:hlinkClick r:id="rId5"/>
              </a:rPr>
              <a:t>http://azure.microsoft.com/en-us/services/data-catalog</a:t>
            </a:r>
            <a:r>
              <a:rPr lang="en-US" sz="1200" dirty="0"/>
              <a:t>  </a:t>
            </a:r>
            <a:r>
              <a:rPr lang="en-US" sz="1200" b="1" dirty="0"/>
              <a:t>(Doc It)</a:t>
            </a:r>
          </a:p>
          <a:p>
            <a:pPr marL="228600" marR="0" lvl="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sz="1200" dirty="0"/>
              <a:t>Azure Data Factory: </a:t>
            </a:r>
            <a:r>
              <a:rPr lang="en-US" sz="1200" dirty="0">
                <a:hlinkClick r:id="rId6"/>
              </a:rPr>
              <a:t>http://azure.microsoft.com/en-us/services/data-factory/</a:t>
            </a:r>
            <a:r>
              <a:rPr lang="en-US" sz="1200" dirty="0"/>
              <a:t>   </a:t>
            </a:r>
            <a:r>
              <a:rPr lang="en-US" sz="1200" b="1" dirty="0"/>
              <a:t>(Move It)</a:t>
            </a:r>
          </a:p>
          <a:p>
            <a:pPr marL="228600" indent="-228600">
              <a:buFont typeface="+mj-lt"/>
              <a:buAutoNum type="arabicPeriod"/>
            </a:pPr>
            <a:r>
              <a:rPr lang="en-US" sz="1200" dirty="0"/>
              <a:t>Azure Event Hubs: </a:t>
            </a:r>
            <a:r>
              <a:rPr lang="en-US" sz="1200" dirty="0">
                <a:hlinkClick r:id="rId7"/>
              </a:rPr>
              <a:t>http://azure.microsoft.com/en-us/services/event-hubs/</a:t>
            </a:r>
            <a:r>
              <a:rPr lang="en-US" sz="1200" dirty="0"/>
              <a:t>  </a:t>
            </a:r>
            <a:r>
              <a:rPr lang="en-US" sz="1200" b="1" dirty="0"/>
              <a:t>(Bring It)</a:t>
            </a:r>
          </a:p>
          <a:p>
            <a:pPr marL="228600" indent="-228600">
              <a:buFont typeface="+mj-lt"/>
              <a:buAutoNum type="arabicPeriod"/>
            </a:pPr>
            <a:r>
              <a:rPr lang="en-US" sz="1200" dirty="0"/>
              <a:t>Azure Data Lake: </a:t>
            </a:r>
            <a:r>
              <a:rPr lang="en-US" sz="1200" dirty="0">
                <a:hlinkClick r:id="rId8"/>
              </a:rPr>
              <a:t>http://azure.microsoft.com/en-us/campaigns/data-lake/</a:t>
            </a:r>
            <a:r>
              <a:rPr lang="en-US" sz="1200" dirty="0"/>
              <a:t>  </a:t>
            </a:r>
            <a:r>
              <a:rPr lang="en-US" sz="1200" b="1" dirty="0"/>
              <a:t>(Store It)</a:t>
            </a:r>
          </a:p>
          <a:p>
            <a:pPr marL="228600" indent="-228600">
              <a:buFont typeface="+mj-lt"/>
              <a:buAutoNum type="arabicPeriod"/>
            </a:pPr>
            <a:r>
              <a:rPr lang="en-US" sz="1200" dirty="0"/>
              <a:t>Azure </a:t>
            </a:r>
            <a:r>
              <a:rPr lang="en-US" sz="1200" dirty="0" err="1"/>
              <a:t>DocumentDB</a:t>
            </a:r>
            <a:r>
              <a:rPr lang="en-US" sz="1200" dirty="0"/>
              <a:t>: </a:t>
            </a:r>
            <a:r>
              <a:rPr lang="en-US" sz="1200" dirty="0">
                <a:hlinkClick r:id="rId9"/>
              </a:rPr>
              <a:t>https://azure.microsoft.com/en-us/services/documentdb/</a:t>
            </a:r>
            <a:r>
              <a:rPr lang="en-US" sz="1200" dirty="0"/>
              <a:t> , Azure SQL Data Warehouse: </a:t>
            </a:r>
            <a:r>
              <a:rPr lang="en-US" sz="1200" dirty="0">
                <a:hlinkClick r:id="rId10"/>
              </a:rPr>
              <a:t>http://azure.microsoft.com/en-us/services/sql-data-warehouse/</a:t>
            </a:r>
            <a:r>
              <a:rPr lang="en-US" sz="1200" dirty="0"/>
              <a:t>  </a:t>
            </a:r>
            <a:r>
              <a:rPr lang="en-US" sz="1200" b="1" dirty="0"/>
              <a:t>(Relate It)</a:t>
            </a:r>
          </a:p>
          <a:p>
            <a:pPr marL="228600" indent="-228600">
              <a:buFont typeface="+mj-lt"/>
              <a:buAutoNum type="arabicPeriod"/>
            </a:pPr>
            <a:r>
              <a:rPr lang="en-US" sz="1200" dirty="0"/>
              <a:t>Azure Machine Learning: </a:t>
            </a:r>
            <a:r>
              <a:rPr lang="en-US" sz="1200" dirty="0">
                <a:hlinkClick r:id="rId11"/>
              </a:rPr>
              <a:t>http://azure.microsoft.com/en-us/services/machine-learning/</a:t>
            </a:r>
            <a:r>
              <a:rPr lang="en-US" sz="1200" dirty="0"/>
              <a:t>  </a:t>
            </a:r>
            <a:r>
              <a:rPr lang="en-US" sz="1200" b="1" dirty="0"/>
              <a:t>(Learn It)</a:t>
            </a:r>
          </a:p>
          <a:p>
            <a:pPr marL="228600" indent="-228600">
              <a:buFont typeface="+mj-lt"/>
              <a:buAutoNum type="arabicPeriod"/>
            </a:pPr>
            <a:r>
              <a:rPr lang="en-US" sz="1200" dirty="0"/>
              <a:t>Azure HDInsight: </a:t>
            </a:r>
            <a:r>
              <a:rPr lang="en-US" sz="1200" dirty="0">
                <a:hlinkClick r:id="rId12"/>
              </a:rPr>
              <a:t>http://azure.microsoft.com/en-us/services/hdinsight/</a:t>
            </a:r>
            <a:r>
              <a:rPr lang="en-US" sz="1200" dirty="0"/>
              <a:t>  </a:t>
            </a:r>
            <a:r>
              <a:rPr lang="en-US" sz="1200" b="1" dirty="0"/>
              <a:t>(Scale It)</a:t>
            </a:r>
          </a:p>
          <a:p>
            <a:pPr marL="228600" indent="-228600">
              <a:buFont typeface="+mj-lt"/>
              <a:buAutoNum type="arabicPeriod"/>
            </a:pPr>
            <a:r>
              <a:rPr lang="en-US" sz="1200" dirty="0"/>
              <a:t>Azure Stream Analytics: </a:t>
            </a:r>
            <a:r>
              <a:rPr lang="en-US" sz="1200" dirty="0">
                <a:hlinkClick r:id="rId13"/>
              </a:rPr>
              <a:t>http://azure.microsoft.com/en-us/services/stream-analytics/</a:t>
            </a:r>
            <a:r>
              <a:rPr lang="en-US" sz="1200" dirty="0"/>
              <a:t>  </a:t>
            </a:r>
            <a:r>
              <a:rPr lang="en-US" sz="1200" b="1" dirty="0"/>
              <a:t>(Stream It) </a:t>
            </a:r>
          </a:p>
          <a:p>
            <a:pPr marL="228600" indent="-228600">
              <a:buFont typeface="+mj-lt"/>
              <a:buAutoNum type="arabicPeriod"/>
            </a:pPr>
            <a:r>
              <a:rPr lang="en-US" sz="1200" dirty="0"/>
              <a:t>Power BI: </a:t>
            </a:r>
            <a:r>
              <a:rPr lang="en-US" sz="1200" dirty="0">
                <a:hlinkClick r:id="rId14"/>
              </a:rPr>
              <a:t>https://powerbi.microsoft.com/</a:t>
            </a:r>
            <a:r>
              <a:rPr lang="en-US" sz="1200" dirty="0"/>
              <a:t>  </a:t>
            </a:r>
            <a:r>
              <a:rPr lang="en-US" sz="1200" b="1" dirty="0"/>
              <a:t>(See It)</a:t>
            </a:r>
          </a:p>
          <a:p>
            <a:pPr marL="228600" indent="-228600">
              <a:buFont typeface="+mj-lt"/>
              <a:buAutoNum type="arabicPeriod"/>
            </a:pPr>
            <a:r>
              <a:rPr lang="en-US" sz="1200" dirty="0"/>
              <a:t>Cortana: </a:t>
            </a:r>
            <a:r>
              <a:rPr lang="en-US" sz="1200" dirty="0">
                <a:hlinkClick r:id="rId15"/>
              </a:rPr>
              <a:t>http://blogs.windows.com/buildingapps/2014/09/23/cortana-integration-and-speech-recognition-new-code-samples/</a:t>
            </a:r>
            <a:r>
              <a:rPr lang="en-US" sz="1200" dirty="0"/>
              <a:t>  and </a:t>
            </a:r>
            <a:r>
              <a:rPr lang="en-US" sz="1200" dirty="0">
                <a:hlinkClick r:id="rId16"/>
              </a:rPr>
              <a:t>https://blogs.windows.com/buildingapps/2015/08/25/using-cortana-to-interact-with-your-customers-10-by-10/</a:t>
            </a:r>
            <a:r>
              <a:rPr lang="en-US" sz="1200" dirty="0"/>
              <a:t> and </a:t>
            </a:r>
            <a:r>
              <a:rPr lang="en-US" sz="1200" dirty="0">
                <a:hlinkClick r:id="rId17"/>
              </a:rPr>
              <a:t>https://developer.microsoft.com/en-us/Cortana</a:t>
            </a:r>
            <a:r>
              <a:rPr lang="en-US" sz="1200" dirty="0"/>
              <a:t>   </a:t>
            </a:r>
            <a:r>
              <a:rPr lang="en-US" sz="1200" b="1" dirty="0"/>
              <a:t>(Say It)</a:t>
            </a:r>
            <a:endParaRPr lang="en-US" sz="1200" b="0" dirty="0"/>
          </a:p>
          <a:p>
            <a:pPr marL="228600" indent="-228600">
              <a:buFont typeface="+mj-lt"/>
              <a:buAutoNum type="arabicPeriod"/>
            </a:pPr>
            <a:r>
              <a:rPr lang="en-US" sz="1200" b="0" dirty="0"/>
              <a:t>Cognitive Services: </a:t>
            </a:r>
            <a:r>
              <a:rPr lang="en-US" sz="1200" b="0" dirty="0">
                <a:hlinkClick r:id="rId18"/>
              </a:rPr>
              <a:t>https://www.microsoft.com/cognitive-services</a:t>
            </a:r>
            <a:r>
              <a:rPr lang="en-US" sz="1200" b="0" dirty="0"/>
              <a:t>  </a:t>
            </a:r>
          </a:p>
          <a:p>
            <a:pPr marL="228600" indent="-228600">
              <a:buFont typeface="+mj-lt"/>
              <a:buAutoNum type="arabicPeriod"/>
            </a:pPr>
            <a:r>
              <a:rPr lang="en-US" sz="1200" b="0" dirty="0"/>
              <a:t>Bot Framework: </a:t>
            </a:r>
            <a:r>
              <a:rPr lang="en-US" sz="1200" b="0" dirty="0">
                <a:hlinkClick r:id="rId19"/>
              </a:rPr>
              <a:t>https://dev.botframework.com/</a:t>
            </a:r>
            <a:r>
              <a:rPr lang="en-US" sz="1200" b="0" dirty="0"/>
              <a:t>  </a:t>
            </a:r>
          </a:p>
          <a:p>
            <a:pPr marL="228600" indent="-228600">
              <a:buFont typeface="+mj-lt"/>
              <a:buAutoNum type="arabicPeriod"/>
            </a:pPr>
            <a:r>
              <a:rPr lang="en-US" sz="1200" dirty="0"/>
              <a:t>All of the components within the suite: </a:t>
            </a:r>
            <a:r>
              <a:rPr lang="en-US" sz="1200" dirty="0">
                <a:hlinkClick r:id="rId20"/>
              </a:rPr>
              <a:t>https://www.microsoft.com/en-us/server-cloud/cortana-intelligence-suite/what-is-cortana-intelligence.aspx</a:t>
            </a:r>
            <a:r>
              <a:rPr lang="en-US" sz="1200" dirty="0"/>
              <a:t>  </a:t>
            </a:r>
          </a:p>
          <a:p>
            <a:pPr marL="228600" indent="-228600">
              <a:buFont typeface="+mj-lt"/>
              <a:buAutoNum type="arabicPeriod"/>
            </a:pPr>
            <a:r>
              <a:rPr lang="en-US" sz="1200" dirty="0"/>
              <a:t>What can I do with it? </a:t>
            </a:r>
            <a:r>
              <a:rPr lang="en-US" sz="1200" dirty="0">
                <a:hlinkClick r:id="rId21"/>
              </a:rPr>
              <a:t>https://gallery.cortanaintelligence.com/</a:t>
            </a:r>
            <a:r>
              <a:rPr lang="en-US" sz="1200" dirty="0"/>
              <a:t>  </a:t>
            </a:r>
          </a:p>
          <a:p>
            <a:pPr marL="228600" indent="-228600">
              <a:buFont typeface="+mj-lt"/>
              <a:buAutoNum type="arabicPeriod"/>
            </a:pPr>
            <a:r>
              <a:rPr lang="en-US" sz="1200" dirty="0"/>
              <a:t>Getting</a:t>
            </a:r>
            <a:r>
              <a:rPr lang="en-US" sz="1200" baseline="0" dirty="0"/>
              <a:t> Started Quickly: </a:t>
            </a:r>
            <a:r>
              <a:rPr lang="en-US" sz="1200" baseline="0" dirty="0">
                <a:hlinkClick r:id="rId22"/>
              </a:rPr>
              <a:t>https://caqs.azure.net/#gallery</a:t>
            </a:r>
            <a:r>
              <a:rPr lang="en-US" sz="1200" baseline="0" dirty="0"/>
              <a:t>  </a:t>
            </a:r>
            <a:endParaRPr lang="en-US" sz="1200" dirty="0"/>
          </a:p>
          <a:p>
            <a:pPr marL="228600" indent="-228600">
              <a:buFont typeface="+mj-lt"/>
              <a:buAutoNum type="arabicPeriod"/>
            </a:pPr>
            <a:endParaRPr lang="en-US" sz="1200" b="0" dirty="0"/>
          </a:p>
          <a:p>
            <a:pPr marL="228600" indent="-228600">
              <a:buFont typeface="+mj-lt"/>
              <a:buAutoNum type="arabicPeriod"/>
            </a:pPr>
            <a:endParaRPr lang="en-US" sz="1200" b="0" dirty="0"/>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2483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Train and Evaluate your Model: </a:t>
            </a:r>
            <a:r>
              <a:rPr lang="en-US" dirty="0">
                <a:hlinkClick r:id="rId3"/>
              </a:rPr>
              <a:t>https://azure.microsoft.com/en-us/documentation/articles/machine-learning-walkthrough-4-train-and-evaluate-models/</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241949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marR="0" indent="-228600" algn="l" defTabSz="932742" rtl="0" eaLnBrk="1" fontAlgn="auto" latinLnBrk="0" hangingPunct="1">
              <a:lnSpc>
                <a:spcPct val="90000"/>
              </a:lnSpc>
              <a:spcBef>
                <a:spcPts val="0"/>
              </a:spcBef>
              <a:spcAft>
                <a:spcPts val="340"/>
              </a:spcAft>
              <a:buClrTx/>
              <a:buSzTx/>
              <a:buFont typeface="+mj-lt"/>
              <a:buAutoNum type="arabicPeriod"/>
              <a:tabLst/>
              <a:defRPr/>
            </a:pPr>
            <a:r>
              <a:rPr lang="en-US" dirty="0">
                <a:hlinkClick r:id="rId3"/>
              </a:rPr>
              <a:t>https://azure.microsoft.com/en-us/documentation/articles/machine-learning-algorithm-choice/</a:t>
            </a:r>
            <a:r>
              <a:rPr lang="en-US" dirty="0"/>
              <a:t> </a:t>
            </a:r>
          </a:p>
          <a:p>
            <a:pPr marL="228600" indent="-228600">
              <a:buFont typeface="+mj-lt"/>
              <a:buAutoNum type="arabicPeriod"/>
            </a:pPr>
            <a:r>
              <a:rPr lang="en-US" dirty="0">
                <a:hlinkClick r:id="rId4"/>
              </a:rPr>
              <a:t>https://msdn.microsoft.com/en-US/library/azure/dn906012.aspx</a:t>
            </a:r>
            <a:r>
              <a:rPr lang="en-US" dirty="0"/>
              <a:t> </a:t>
            </a:r>
          </a:p>
          <a:p>
            <a:pPr marL="228600" indent="-228600">
              <a:buFont typeface="+mj-lt"/>
              <a:buAutoNum type="arabicPeriod"/>
            </a:pPr>
            <a:r>
              <a:rPr lang="en-US" dirty="0">
                <a:hlinkClick r:id="rId5"/>
              </a:rPr>
              <a:t>https://msdn.microsoft.com/en-us/library/azure/dn913055.aspx</a:t>
            </a:r>
            <a:r>
              <a:rPr lang="en-US" dirty="0"/>
              <a:t> </a:t>
            </a:r>
          </a:p>
          <a:p>
            <a:pPr marL="228600" indent="-228600">
              <a:buFont typeface="+mj-lt"/>
              <a:buAutoNum type="arabicPeriod"/>
            </a:pPr>
            <a:r>
              <a:rPr lang="en-US" dirty="0">
                <a:hlinkClick r:id="rId5"/>
              </a:rPr>
              <a:t>https://msdn.microsoft.com/en-us/library/azure/dn913055.aspx</a:t>
            </a:r>
            <a:r>
              <a:rPr lang="en-US" dirty="0"/>
              <a:t> </a:t>
            </a:r>
          </a:p>
          <a:p>
            <a:pPr marL="228600" indent="-228600">
              <a:buFont typeface="+mj-lt"/>
              <a:buAutoNum type="arabicPeriod"/>
            </a:pPr>
            <a:r>
              <a:rPr lang="en-US" dirty="0">
                <a:hlinkClick r:id="rId6"/>
              </a:rPr>
              <a:t>https://msdn.microsoft.com/en-us/library/azure/dn905970.aspx</a:t>
            </a:r>
            <a:r>
              <a:rPr lang="en-US" dirty="0"/>
              <a:t> </a:t>
            </a:r>
          </a:p>
          <a:p>
            <a:pPr marL="228600" indent="-228600">
              <a:buFont typeface="+mj-lt"/>
              <a:buAutoNum type="arabicPeriod"/>
            </a:pPr>
            <a:r>
              <a:rPr lang="en-US" dirty="0">
                <a:hlinkClick r:id="rId7"/>
              </a:rPr>
              <a:t>https://msdn.microsoft.com/en-us/library/azure/dn905995.aspx</a:t>
            </a:r>
            <a:r>
              <a:rPr lang="en-US" dirty="0"/>
              <a:t> </a:t>
            </a:r>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7742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228600" indent="-228600">
              <a:buFont typeface="+mj-lt"/>
              <a:buAutoNum type="arabicPeriod"/>
            </a:pPr>
            <a:r>
              <a:rPr lang="en-US" dirty="0">
                <a:hlinkClick r:id="rId3"/>
              </a:rPr>
              <a:t>Simple explanation</a:t>
            </a:r>
            <a:r>
              <a:rPr lang="en-US" baseline="0" dirty="0">
                <a:hlinkClick r:id="rId3"/>
              </a:rPr>
              <a:t> of the ROC Curve: http://blog.revolutionanalytics.com/2016/08/roc-curves-in-two-lines-of-code.html </a:t>
            </a:r>
            <a:endParaRPr lang="en-US" dirty="0">
              <a:hlinkClick r:id="rId3"/>
            </a:endParaRPr>
          </a:p>
          <a:p>
            <a:pPr marL="228600" indent="-228600">
              <a:buFont typeface="+mj-lt"/>
              <a:buAutoNum type="arabicPeriod"/>
            </a:pPr>
            <a:r>
              <a:rPr lang="en-US" dirty="0">
                <a:hlinkClick r:id="rId3"/>
              </a:rPr>
              <a:t>https://msdn.microsoft.com/en-us/library/azure/dn906026.aspx</a:t>
            </a:r>
            <a:r>
              <a:rPr lang="en-US" dirty="0"/>
              <a:t> </a:t>
            </a:r>
          </a:p>
          <a:p>
            <a:pPr marL="228600" indent="-228600">
              <a:buFont typeface="+mj-lt"/>
              <a:buAutoNum type="arabicPeriod"/>
            </a:pPr>
            <a:r>
              <a:rPr lang="en-US" dirty="0">
                <a:hlinkClick r:id="rId4"/>
              </a:rPr>
              <a:t>https://azure.microsoft.com/en-us/documentation/articles/machine-learning-evaluate-model-performance/</a:t>
            </a:r>
            <a:r>
              <a:rPr lang="en-US" dirty="0"/>
              <a:t>  </a:t>
            </a:r>
          </a:p>
          <a:p>
            <a:pPr marL="228600" indent="-228600">
              <a:buFont typeface="+mj-lt"/>
              <a:buAutoNum type="arabicPeriod"/>
            </a:pPr>
            <a:r>
              <a:rPr lang="en-US" dirty="0">
                <a:hlinkClick r:id="rId5"/>
              </a:rPr>
              <a:t>https://msdn.microsoft.com/library/azure/75fb875d-6b86-4d46-8bcc-74261ade5826</a:t>
            </a:r>
            <a:r>
              <a:rPr lang="en-US" dirty="0"/>
              <a:t> </a:t>
            </a:r>
          </a:p>
          <a:p>
            <a:pPr marL="228600" indent="-228600">
              <a:buFont typeface="+mj-lt"/>
              <a:buAutoNum type="arabicPeriod"/>
            </a:pPr>
            <a:r>
              <a:rPr lang="en-US" dirty="0">
                <a:hlinkClick r:id="rId6"/>
              </a:rPr>
              <a:t>https://msdn.microsoft.com/library/azure/927d65ac-3b50-4694-9903-20f6c1672089</a:t>
            </a:r>
            <a:r>
              <a:rPr lang="en-US" dirty="0"/>
              <a:t> </a:t>
            </a:r>
          </a:p>
          <a:p>
            <a:pPr marL="228600" indent="-228600">
              <a:buFont typeface="+mj-lt"/>
              <a:buAutoNum type="arabicPeriod"/>
            </a:pPr>
            <a:r>
              <a:rPr lang="en-US" dirty="0">
                <a:hlinkClick r:id="rId7"/>
              </a:rPr>
              <a:t>https://msdn.microsoft.com/library/azure/e9ad68a7-e91b-4ae6-800e-b5ee7e22cd17</a:t>
            </a:r>
            <a:r>
              <a:rPr lang="en-US" dirty="0"/>
              <a:t> </a:t>
            </a:r>
          </a:p>
          <a:p>
            <a:pPr marL="228600" indent="-228600">
              <a:buFont typeface="+mj-lt"/>
              <a:buAutoNum type="arabicPeriod"/>
            </a:pPr>
            <a:endParaRPr lang="en-US" dirty="0"/>
          </a:p>
          <a:p>
            <a:pPr marL="228600" indent="-228600">
              <a:buFont typeface="+mj-lt"/>
              <a:buAutoNum type="arabicPeriod"/>
            </a:pPr>
            <a:endParaRPr lang="en-US" dirty="0"/>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86764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dirty="0"/>
              <a:t>Working with Azure Storage: </a:t>
            </a:r>
            <a:r>
              <a:rPr lang="en-US" dirty="0">
                <a:hlinkClick r:id="rId3"/>
              </a:rPr>
              <a:t>https://azure.microsoft.com/en-us/documentation/services/storage/</a:t>
            </a:r>
            <a:r>
              <a:rPr lang="en-US" dirty="0"/>
              <a:t> </a:t>
            </a:r>
          </a:p>
        </p:txBody>
      </p:sp>
      <p:sp>
        <p:nvSpPr>
          <p:cNvPr id="4" name="Slide Number Placeholder 3"/>
          <p:cNvSpPr>
            <a:spLocks noGrp="1"/>
          </p:cNvSpPr>
          <p:nvPr>
            <p:ph type="sldNum" sz="quarter" idx="10"/>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6284559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69566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2361254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Edit Master text styles</a:t>
            </a:r>
          </a:p>
        </p:txBody>
      </p:sp>
    </p:spTree>
    <p:extLst>
      <p:ext uri="{BB962C8B-B14F-4D97-AF65-F5344CB8AC3E}">
        <p14:creationId xmlns:p14="http://schemas.microsoft.com/office/powerpoint/2010/main" val="186174874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878511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2880908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25026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5245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4237" y="3145040"/>
            <a:ext cx="3278492" cy="704445"/>
          </a:xfrm>
          <a:prstGeom prst="rect">
            <a:avLst/>
          </a:prstGeom>
        </p:spPr>
      </p:pic>
    </p:spTree>
    <p:extLst>
      <p:ext uri="{BB962C8B-B14F-4D97-AF65-F5344CB8AC3E}">
        <p14:creationId xmlns:p14="http://schemas.microsoft.com/office/powerpoint/2010/main" val="24801859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8576030"/>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948203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sp>
        <p:nvSpPr>
          <p:cNvPr id="10" name="TextBox 9"/>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0296" y="233151"/>
            <a:ext cx="1986146" cy="730297"/>
          </a:xfrm>
          <a:prstGeom prst="rect">
            <a:avLst/>
          </a:prstGeom>
        </p:spPr>
      </p:pic>
      <p:sp>
        <p:nvSpPr>
          <p:cNvPr id="15" name="TextBox 14"/>
          <p:cNvSpPr txBox="1"/>
          <p:nvPr/>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
        <p:nvSpPr>
          <p:cNvPr id="14" name="TextBox 13"/>
          <p:cNvSpPr txBox="1"/>
          <p:nvPr userDrawn="1"/>
        </p:nvSpPr>
        <p:spPr>
          <a:xfrm>
            <a:off x="7772797" y="388585"/>
            <a:ext cx="3886398" cy="1942924"/>
          </a:xfrm>
          <a:prstGeom prst="rect">
            <a:avLst/>
          </a:prstGeom>
        </p:spPr>
        <p:txBody>
          <a:bodyPr vert="horz" wrap="square" lIns="110987" tIns="55494" rIns="110987" bIns="55494" rtlCol="0" anchor="ctr">
            <a:normAutofit/>
          </a:bodyPr>
          <a:lstStyle/>
          <a:p>
            <a:pPr defTabSz="1109758"/>
            <a:r>
              <a:rPr lang="en-US" sz="204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435" y="202306"/>
            <a:ext cx="1986146" cy="730297"/>
          </a:xfrm>
          <a:prstGeom prst="rect">
            <a:avLst/>
          </a:prstGeom>
        </p:spPr>
      </p:pic>
    </p:spTree>
    <p:extLst>
      <p:ext uri="{BB962C8B-B14F-4D97-AF65-F5344CB8AC3E}">
        <p14:creationId xmlns:p14="http://schemas.microsoft.com/office/powerpoint/2010/main" val="82371934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3878" y="2098358"/>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8" y="2098358"/>
            <a:ext cx="5597871" cy="2798040"/>
          </a:xfrm>
          <a:noFill/>
        </p:spPr>
        <p:txBody>
          <a:bodyPr vert="horz" lIns="137160" tIns="137160" rIns="137160" bIns="137160" rtlCol="0" anchor="t" anchorCtr="0">
            <a:normAutofit/>
          </a:bodyPr>
          <a:lstStyle>
            <a:lvl1pPr>
              <a:defRPr lang="en-US" sz="4488" spc="-100"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8" y="4896168"/>
            <a:ext cx="5597871" cy="932603"/>
          </a:xfrm>
        </p:spPr>
        <p:txBody>
          <a:bodyPr lIns="137160" tIns="137160" rIns="137160" bIns="137160">
            <a:noAutofit/>
          </a:bodyPr>
          <a:lstStyle>
            <a:lvl1pPr marL="0" indent="0">
              <a:spcBef>
                <a:spcPts val="0"/>
              </a:spcBef>
              <a:buNone/>
              <a:defRPr sz="2040">
                <a:solidFill>
                  <a:schemeClr val="bg1"/>
                </a:solidFill>
              </a:defRPr>
            </a:lvl1pPr>
            <a:lvl2pPr marL="287279" indent="0">
              <a:buNone/>
              <a:defRPr sz="2040">
                <a:solidFill>
                  <a:schemeClr val="bg1"/>
                </a:solidFill>
              </a:defRPr>
            </a:lvl2pPr>
            <a:lvl3pPr marL="600187" indent="0">
              <a:buNone/>
              <a:defRPr sz="2040">
                <a:solidFill>
                  <a:schemeClr val="bg1"/>
                </a:solidFill>
              </a:defRPr>
            </a:lvl3pPr>
            <a:lvl4pPr marL="887466" indent="0">
              <a:buNone/>
              <a:defRPr sz="2040">
                <a:solidFill>
                  <a:schemeClr val="bg1"/>
                </a:solidFill>
              </a:defRPr>
            </a:lvl4pPr>
            <a:lvl5pPr marL="1127540" indent="0">
              <a:buNone/>
              <a:defRPr sz="204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84" y="204776"/>
            <a:ext cx="1986143" cy="730297"/>
          </a:xfrm>
          <a:prstGeom prst="rect">
            <a:avLst/>
          </a:prstGeom>
        </p:spPr>
      </p:pic>
    </p:spTree>
    <p:extLst>
      <p:ext uri="{BB962C8B-B14F-4D97-AF65-F5344CB8AC3E}">
        <p14:creationId xmlns:p14="http://schemas.microsoft.com/office/powerpoint/2010/main" val="65311895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1"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43199" y="6606832"/>
            <a:ext cx="8550077" cy="387694"/>
          </a:xfrm>
        </p:spPr>
        <p:txBody>
          <a:bodyPr/>
          <a:lstStyle/>
          <a:p>
            <a:endParaRPr lang="en-US" dirty="0">
              <a:solidFill>
                <a:srgbClr val="505050"/>
              </a:solidFill>
            </a:endParaRPr>
          </a:p>
        </p:txBody>
      </p:sp>
    </p:spTree>
    <p:extLst>
      <p:ext uri="{BB962C8B-B14F-4D97-AF65-F5344CB8AC3E}">
        <p14:creationId xmlns:p14="http://schemas.microsoft.com/office/powerpoint/2010/main" val="13379383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109758"/>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57733365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3878" y="1632056"/>
            <a:ext cx="12128721" cy="45853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7279" indent="0">
              <a:buNone/>
              <a:defRPr>
                <a:solidFill>
                  <a:schemeClr val="tx1"/>
                </a:solidFill>
                <a:latin typeface="Courier New" pitchFamily="49" charset="0"/>
                <a:cs typeface="Courier New" pitchFamily="49" charset="0"/>
              </a:defRPr>
            </a:lvl2pPr>
            <a:lvl3pPr marL="600187" indent="0">
              <a:buNone/>
              <a:defRPr>
                <a:solidFill>
                  <a:schemeClr val="tx1"/>
                </a:solidFill>
                <a:latin typeface="Courier New" pitchFamily="49" charset="0"/>
                <a:cs typeface="Courier New" pitchFamily="49" charset="0"/>
              </a:defRPr>
            </a:lvl3pPr>
            <a:lvl4pPr marL="887466" indent="0">
              <a:buNone/>
              <a:defRPr>
                <a:solidFill>
                  <a:schemeClr val="tx1"/>
                </a:solidFill>
                <a:latin typeface="Courier New" pitchFamily="49" charset="0"/>
                <a:cs typeface="Courier New" pitchFamily="49" charset="0"/>
              </a:defRPr>
            </a:lvl4pPr>
            <a:lvl5pPr marL="1127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458172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5713599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6"/>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3877" y="3954464"/>
            <a:ext cx="10262765" cy="18743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7" y="1165754"/>
            <a:ext cx="10262764" cy="27887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732887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3879" y="1165755"/>
            <a:ext cx="10262763" cy="2788709"/>
          </a:xfrm>
          <a:noFill/>
        </p:spPr>
        <p:txBody>
          <a:bodyPr lIns="137160" tIns="137160" rIns="137160" bIns="137160" anchor="t" anchorCtr="0"/>
          <a:lstStyle>
            <a:lvl1pPr>
              <a:defRPr sz="7241" spc="-100"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3877" y="3963564"/>
            <a:ext cx="10262764" cy="1865207"/>
          </a:xfrm>
          <a:noFill/>
        </p:spPr>
        <p:txBody>
          <a:bodyPr lIns="137160" tIns="137160" rIns="137160" bIns="137160">
            <a:noAutofit/>
          </a:bodyPr>
          <a:lstStyle>
            <a:lvl1pPr marL="0" indent="0">
              <a:spcBef>
                <a:spcPts val="0"/>
              </a:spcBef>
              <a:buNone/>
              <a:defRPr sz="2856"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3879" y="1165754"/>
            <a:ext cx="10262763" cy="279781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9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518303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197141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chemeClr val="tx1"/>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907659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3878" y="2098359"/>
            <a:ext cx="12128721" cy="1859279"/>
          </a:xfrm>
          <a:noFill/>
        </p:spPr>
        <p:txBody>
          <a:bodyPr lIns="137160" tIns="137160" rIns="137160" bIns="137160" anchor="t" anchorCtr="0"/>
          <a:lstStyle>
            <a:lvl1pPr>
              <a:defRPr sz="8771" spc="-100"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3877" y="3963564"/>
            <a:ext cx="6530850"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000000"/>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882835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sp>
        <p:nvSpPr>
          <p:cNvPr id="8" name="Rectangle 7"/>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6" name="Rectangle 5"/>
          <p:cNvSpPr/>
          <p:nvPr/>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5182" y="2956956"/>
            <a:ext cx="2938889" cy="1080617"/>
          </a:xfrm>
          <a:prstGeom prst="rect">
            <a:avLst/>
          </a:prstGeom>
        </p:spPr>
      </p:pic>
      <p:sp>
        <p:nvSpPr>
          <p:cNvPr id="9" name="Rectangle 8"/>
          <p:cNvSpPr/>
          <p:nvPr userDrawn="1"/>
        </p:nvSpPr>
        <p:spPr>
          <a:xfrm>
            <a:off x="1" y="0"/>
            <a:ext cx="12436475" cy="6994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7696" tIns="38847" rIns="77696" bIns="38847" rtlCol="0" anchor="ctr"/>
          <a:lstStyle/>
          <a:p>
            <a:pPr algn="ctr" defTabSz="1109758"/>
            <a:endParaRPr lang="en-US" sz="2244">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080" y="2959722"/>
            <a:ext cx="2902056" cy="1067073"/>
          </a:xfrm>
          <a:prstGeom prst="rect">
            <a:avLst/>
          </a:prstGeom>
        </p:spPr>
      </p:pic>
    </p:spTree>
    <p:extLst>
      <p:ext uri="{BB962C8B-B14F-4D97-AF65-F5344CB8AC3E}">
        <p14:creationId xmlns:p14="http://schemas.microsoft.com/office/powerpoint/2010/main" val="393986375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9881963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9697861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501398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6030389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8800399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C52C2B-7042-40BF-8872-17B0983F4A66}" type="datetimeFigureOut">
              <a:rPr lang="en-US" smtClean="0"/>
              <a:t>2/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356647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3C52C2B-7042-40BF-8872-17B0983F4A66}" type="datetimeFigureOut">
              <a:rPr lang="en-US" smtClean="0"/>
              <a:t>2/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4075605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C52C2B-7042-40BF-8872-17B0983F4A66}" type="datetimeFigureOut">
              <a:rPr lang="en-US" smtClean="0"/>
              <a:t>2/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956094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160658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313519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93C52C2B-7042-40BF-8872-17B0983F4A66}" type="datetimeFigureOut">
              <a:rPr lang="en-US" smtClean="0"/>
              <a:t>2/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4547719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2760611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33419213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787635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b="0">
                <a:solidFill>
                  <a:schemeClr val="tx1"/>
                </a:solidFill>
              </a:defRPr>
            </a:lvl1pPr>
          </a:lstStyle>
          <a:p>
            <a:r>
              <a:rPr lang="en-US"/>
              <a:t>Click to edit Master title style</a:t>
            </a:r>
          </a:p>
        </p:txBody>
      </p:sp>
      <p:sp>
        <p:nvSpPr>
          <p:cNvPr id="3" name="Subtitle 2"/>
          <p:cNvSpPr>
            <a:spLocks noGrp="1"/>
          </p:cNvSpPr>
          <p:nvPr>
            <p:ph type="subTitle" idx="1"/>
          </p:nvPr>
        </p:nvSpPr>
        <p:spPr>
          <a:xfrm>
            <a:off x="1554560" y="3673745"/>
            <a:ext cx="9327356" cy="1688725"/>
          </a:xfrm>
        </p:spPr>
        <p:txBody>
          <a:bodyPr/>
          <a:lstStyle>
            <a:lvl1pPr marL="0" indent="0" algn="ctr">
              <a:buNone/>
              <a:defRPr sz="2448"/>
            </a:lvl1pPr>
            <a:lvl2pPr marL="466287" indent="0" algn="ctr">
              <a:buNone/>
              <a:defRPr sz="2040"/>
            </a:lvl2pPr>
            <a:lvl3pPr marL="932573" indent="0" algn="ctr">
              <a:buNone/>
              <a:defRPr sz="1836"/>
            </a:lvl3pPr>
            <a:lvl4pPr marL="1398860" indent="0" algn="ctr">
              <a:buNone/>
              <a:defRPr sz="1632"/>
            </a:lvl4pPr>
            <a:lvl5pPr marL="1865146" indent="0" algn="ctr">
              <a:buNone/>
              <a:defRPr sz="1632"/>
            </a:lvl5pPr>
            <a:lvl6pPr marL="2331433" indent="0" algn="ctr">
              <a:buNone/>
              <a:defRPr sz="1632"/>
            </a:lvl6pPr>
            <a:lvl7pPr marL="2797719" indent="0" algn="ctr">
              <a:buNone/>
              <a:defRPr sz="1632"/>
            </a:lvl7pPr>
            <a:lvl8pPr marL="3264006" indent="0" algn="ctr">
              <a:buNone/>
              <a:defRPr sz="1632"/>
            </a:lvl8pPr>
            <a:lvl9pPr marL="3730293" indent="0" algn="ctr">
              <a:buNone/>
              <a:defRPr sz="1632"/>
            </a:lvl9pPr>
          </a:lstStyle>
          <a:p>
            <a:r>
              <a:rPr lang="en-US"/>
              <a:t>Click to edit Master subtitle style</a:t>
            </a:r>
          </a:p>
        </p:txBody>
      </p:sp>
    </p:spTree>
    <p:extLst>
      <p:ext uri="{BB962C8B-B14F-4D97-AF65-F5344CB8AC3E}">
        <p14:creationId xmlns:p14="http://schemas.microsoft.com/office/powerpoint/2010/main" val="2464642213"/>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40635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C52C2B-7042-40BF-8872-17B0983F4A66}" type="datetimeFigureOut">
              <a:rPr lang="en-US" smtClean="0"/>
              <a:t>2/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599B2-8D78-41B7-BDF2-E3ADBE2383B9}" type="slidenum">
              <a:rPr lang="en-US" smtClean="0"/>
              <a:t>‹#›</a:t>
            </a:fld>
            <a:endParaRPr lang="en-US"/>
          </a:p>
        </p:txBody>
      </p:sp>
    </p:spTree>
    <p:extLst>
      <p:ext uri="{BB962C8B-B14F-4D97-AF65-F5344CB8AC3E}">
        <p14:creationId xmlns:p14="http://schemas.microsoft.com/office/powerpoint/2010/main" val="18860240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2058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8357498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Blue">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a:prstGeom prst="rect">
            <a:avLst/>
          </a:prstGeom>
        </p:spPr>
        <p:txBody>
          <a:bodyPr/>
          <a:lstStyle>
            <a:lvl1pPr marL="0" indent="0">
              <a:buNone/>
              <a:defRPr/>
            </a:lvl1pPr>
          </a:lstStyle>
          <a:p>
            <a:endParaRPr lang="en-US" dirty="0"/>
          </a:p>
        </p:txBody>
      </p:sp>
      <p:sp>
        <p:nvSpPr>
          <p:cNvPr id="5" name="Title 4"/>
          <p:cNvSpPr>
            <a:spLocks noGrp="1"/>
          </p:cNvSpPr>
          <p:nvPr>
            <p:ph type="title"/>
          </p:nvPr>
        </p:nvSpPr>
        <p:spPr>
          <a:xfrm>
            <a:off x="274320" y="307608"/>
            <a:ext cx="5486718" cy="917575"/>
          </a:xfrm>
        </p:spPr>
        <p:txBody>
          <a:bodyPr/>
          <a:lstStyle>
            <a:lvl1pPr>
              <a:defRPr sz="5999">
                <a:gradFill>
                  <a:gsLst>
                    <a:gs pos="8850">
                      <a:srgbClr val="FFFFFF"/>
                    </a:gs>
                    <a:gs pos="34000">
                      <a:srgbClr val="FFFFFF"/>
                    </a:gs>
                  </a:gsLst>
                  <a:lin ang="5400000" scaled="0"/>
                </a:gradFill>
              </a:defRPr>
            </a:lvl1pPr>
          </a:lstStyle>
          <a:p>
            <a:r>
              <a:rPr lang="en-US" dirty="0"/>
              <a:t>Click to edit Master title style</a:t>
            </a:r>
          </a:p>
        </p:txBody>
      </p:sp>
      <p:pic>
        <p:nvPicPr>
          <p:cNvPr id="4" name="Picture 3" descr="C:\Users\petern\AppData\Local\Temp\vmware-petern\VMwareDnD\9912bbd5\PPE_Logo_RGB_bootcamp_600x131.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284758" y="6287834"/>
            <a:ext cx="1877080" cy="409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1519182"/>
      </p:ext>
    </p:extLst>
  </p:cSld>
  <p:clrMapOvr>
    <a:masterClrMapping/>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Slide Photo_Op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2" name="Rectangle 1"/>
          <p:cNvSpPr/>
          <p:nvPr/>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101" y="2145699"/>
            <a:ext cx="6400736" cy="1828800"/>
          </a:xfrm>
          <a:noFill/>
        </p:spPr>
        <p:txBody>
          <a:bodyPr lIns="146304" tIns="91440" rIns="146304" bIns="91440" anchor="t" anchorCtr="0"/>
          <a:lstStyle>
            <a:lvl1pPr>
              <a:defRPr sz="5400" spc="-100" baseline="0">
                <a:gradFill>
                  <a:gsLst>
                    <a:gs pos="64646">
                      <a:srgbClr val="FFFFFF"/>
                    </a:gs>
                    <a:gs pos="4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5759449" y="3974479"/>
            <a:ext cx="6402388" cy="1732583"/>
          </a:xfrm>
        </p:spPr>
        <p:txBody>
          <a:bodyPr tIns="109728" bIns="109728">
            <a:noAutofit/>
          </a:bodyPr>
          <a:lstStyle>
            <a:lvl1pPr marL="0" indent="0">
              <a:spcBef>
                <a:spcPts val="0"/>
              </a:spcBef>
              <a:buNone/>
              <a:defRPr sz="3200">
                <a:gradFill>
                  <a:gsLst>
                    <a:gs pos="64646">
                      <a:srgbClr val="FFFFFF"/>
                    </a:gs>
                    <a:gs pos="45000">
                      <a:srgbClr val="FFFFFF"/>
                    </a:gs>
                  </a:gsLst>
                  <a:lin ang="5400000" scaled="0"/>
                </a:gradFill>
              </a:defRPr>
            </a:lvl1pPr>
          </a:lstStyle>
          <a:p>
            <a:pPr lvl="0"/>
            <a:r>
              <a:rPr lang="en-US" dirty="0"/>
              <a:t>Speaker Nam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35" y="-635"/>
            <a:ext cx="12435840" cy="6995160"/>
          </a:xfrm>
          <a:prstGeom prst="rect">
            <a:avLst/>
          </a:prstGeom>
        </p:spPr>
      </p:pic>
      <p:sp>
        <p:nvSpPr>
          <p:cNvPr id="10" name="Rectangle 9"/>
          <p:cNvSpPr/>
          <p:nvPr userDrawn="1"/>
        </p:nvSpPr>
        <p:spPr bwMode="auto">
          <a:xfrm>
            <a:off x="5757797" y="2145699"/>
            <a:ext cx="6404040" cy="3561363"/>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1477" y="6164262"/>
            <a:ext cx="1686560" cy="363259"/>
          </a:xfrm>
          <a:prstGeom prst="rect">
            <a:avLst/>
          </a:prstGeom>
        </p:spPr>
      </p:pic>
    </p:spTree>
    <p:extLst>
      <p:ext uri="{BB962C8B-B14F-4D97-AF65-F5344CB8AC3E}">
        <p14:creationId xmlns:p14="http://schemas.microsoft.com/office/powerpoint/2010/main" val="375648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99650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9.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1.bin"/><Relationship Id="rId2" Type="http://schemas.openxmlformats.org/officeDocument/2006/relationships/slideLayout" Target="../slideLayouts/slideLayout21.xml"/><Relationship Id="rId16" Type="http://schemas.openxmlformats.org/officeDocument/2006/relationships/tags" Target="../tags/tag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vmlDrawing" Target="../drawings/vmlDrawing1.v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47" r:id="rId1"/>
    <p:sldLayoutId id="2147484256" r:id="rId2"/>
    <p:sldLayoutId id="2147484257" r:id="rId3"/>
    <p:sldLayoutId id="2147484268" r:id="rId4"/>
    <p:sldLayoutId id="2147484372" r:id="rId5"/>
    <p:sldLayoutId id="2147484373" r:id="rId6"/>
    <p:sldLayoutId id="2147484374" r:id="rId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8"/>
          <a:stretch>
            <a:fillRect/>
          </a:stretch>
        </p:blipFill>
        <p:spPr>
          <a:xfrm rot="5400000">
            <a:off x="9393899" y="3050513"/>
            <a:ext cx="6995160" cy="894134"/>
          </a:xfrm>
          <a:prstGeom prst="rect">
            <a:avLst/>
          </a:prstGeom>
        </p:spPr>
      </p:pic>
      <p:pic>
        <p:nvPicPr>
          <p:cNvPr id="5" name="Picture 4"/>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74338330"/>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1" r:id="rId5"/>
    <p:sldLayoutId id="2147484382"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940584025"/>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32" name="think-cell Slide" r:id="rId17" imgW="383" imgH="384" progId="TCLayout.ActiveDocument.1">
                  <p:embed/>
                </p:oleObj>
              </mc:Choice>
              <mc:Fallback>
                <p:oleObj name="think-cell Slide" r:id="rId17" imgW="383" imgH="384" progId="TCLayout.ActiveDocument.1">
                  <p:embed/>
                  <p:pic>
                    <p:nvPicPr>
                      <p:cNvPr id="3" name="Object 2" hidden="1"/>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43199" y="6606832"/>
            <a:ext cx="8550077" cy="387694"/>
          </a:xfrm>
          <a:prstGeom prst="rect">
            <a:avLst/>
          </a:prstGeom>
        </p:spPr>
        <p:txBody>
          <a:bodyPr vert="horz" lIns="76179" tIns="38089" rIns="76179" bIns="38089" rtlCol="0" anchor="ctr"/>
          <a:lstStyle>
            <a:lvl1pPr algn="ctr">
              <a:defRPr sz="816">
                <a:solidFill>
                  <a:schemeClr val="tx1"/>
                </a:solidFill>
                <a:latin typeface="Segoe UI" pitchFamily="34" charset="0"/>
                <a:ea typeface="Segoe UI" pitchFamily="34" charset="0"/>
                <a:cs typeface="Segoe UI" pitchFamily="34" charset="0"/>
              </a:defRPr>
            </a:lvl1pPr>
          </a:lstStyle>
          <a:p>
            <a:pPr defTabSz="1109758"/>
            <a:endParaRPr lang="en-US" dirty="0">
              <a:solidFill>
                <a:srgbClr val="505050"/>
              </a:solidFill>
            </a:endParaRPr>
          </a:p>
        </p:txBody>
      </p:sp>
      <p:sp>
        <p:nvSpPr>
          <p:cNvPr id="15" name="Text Placeholder 14"/>
          <p:cNvSpPr>
            <a:spLocks noGrp="1"/>
          </p:cNvSpPr>
          <p:nvPr>
            <p:ph type="body" idx="1"/>
          </p:nvPr>
        </p:nvSpPr>
        <p:spPr>
          <a:xfrm>
            <a:off x="153878" y="1632058"/>
            <a:ext cx="12128721"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993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58"/>
            <a:fld id="{FAADACFB-7C71-4E89-89D2-7BBA40B7BFA9}" type="slidenum">
              <a:rPr lang="en-US" smtClean="0">
                <a:solidFill>
                  <a:srgbClr val="505050"/>
                </a:solidFill>
              </a:rPr>
              <a:pPr defTabSz="1109758"/>
              <a:t>‹#›</a:t>
            </a:fld>
            <a:endParaRPr lang="en-US" dirty="0">
              <a:solidFill>
                <a:srgbClr val="505050"/>
              </a:solidFill>
            </a:endParaRPr>
          </a:p>
        </p:txBody>
      </p:sp>
    </p:spTree>
    <p:extLst>
      <p:ext uri="{BB962C8B-B14F-4D97-AF65-F5344CB8AC3E}">
        <p14:creationId xmlns:p14="http://schemas.microsoft.com/office/powerpoint/2010/main" val="3165041929"/>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Lst>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3C52C2B-7042-40BF-8872-17B0983F4A66}" type="datetimeFigureOut">
              <a:rPr lang="en-US" smtClean="0"/>
              <a:t>2/14/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5E599B2-8D78-41B7-BDF2-E3ADBE2383B9}" type="slidenum">
              <a:rPr lang="en-US" smtClean="0"/>
              <a:t>‹#›</a:t>
            </a:fld>
            <a:endParaRPr lang="en-US"/>
          </a:p>
        </p:txBody>
      </p:sp>
    </p:spTree>
    <p:extLst>
      <p:ext uri="{BB962C8B-B14F-4D97-AF65-F5344CB8AC3E}">
        <p14:creationId xmlns:p14="http://schemas.microsoft.com/office/powerpoint/2010/main" val="612689175"/>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621824" y="1398905"/>
            <a:ext cx="11192828" cy="4896168"/>
          </a:xfrm>
          <a:prstGeom prst="rect">
            <a:avLst/>
          </a:prstGeom>
          <a:noFill/>
          <a:ln w="9525">
            <a:noFill/>
            <a:miter lim="800000"/>
            <a:headEnd/>
            <a:tailEnd/>
          </a:ln>
        </p:spPr>
        <p:txBody>
          <a:bodyPr vert="horz" wrap="square" lIns="91438" tIns="45719" rIns="91438" bIns="4571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621824" y="310868"/>
            <a:ext cx="11192828" cy="777169"/>
          </a:xfrm>
          <a:prstGeom prst="rect">
            <a:avLst/>
          </a:prstGeom>
          <a:noFill/>
          <a:ln w="9525">
            <a:noFill/>
            <a:miter lim="800000"/>
            <a:headEnd/>
            <a:tailEnd/>
          </a:ln>
        </p:spPr>
        <p:txBody>
          <a:bodyPr vert="horz" wrap="square" lIns="91438" tIns="45719" rIns="91438" bIns="45719"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581970414"/>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Lst>
  <p:transition>
    <p:fade/>
  </p:transition>
  <p:hf hdr="0" ftr="0" dt="0"/>
  <p:txStyles>
    <p:titleStyle>
      <a:lvl1pPr marL="0" indent="0" algn="ctr" defTabSz="-18864709" rtl="0" eaLnBrk="1" fontAlgn="base" hangingPunct="1">
        <a:spcBef>
          <a:spcPct val="0"/>
        </a:spcBef>
        <a:spcAft>
          <a:spcPct val="0"/>
        </a:spcAft>
        <a:defRPr lang="en-US" sz="3807" b="0" dirty="0" smtClean="0">
          <a:solidFill>
            <a:schemeClr val="tx1"/>
          </a:solidFill>
          <a:latin typeface="Calibri"/>
          <a:ea typeface="+mj-ea"/>
          <a:cs typeface="Segoe UI" pitchFamily="34" charset="0"/>
        </a:defRPr>
      </a:lvl1pPr>
      <a:lvl2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2pPr>
      <a:lvl3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3pPr>
      <a:lvl4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4pPr>
      <a:lvl5pPr marL="466276" indent="-466276" algn="ctr" defTabSz="-18864709" rtl="0" eaLnBrk="1" fontAlgn="base" hangingPunct="1">
        <a:spcBef>
          <a:spcPct val="0"/>
        </a:spcBef>
        <a:spcAft>
          <a:spcPct val="0"/>
        </a:spcAft>
        <a:defRPr sz="3807" b="1">
          <a:solidFill>
            <a:schemeClr val="tx2"/>
          </a:solidFill>
          <a:latin typeface="Myriad Pro" pitchFamily="34" charset="0"/>
          <a:cs typeface="Segoe UI" pitchFamily="34" charset="0"/>
        </a:defRPr>
      </a:lvl5pPr>
      <a:lvl6pPr marL="621700" algn="l" eaLnBrk="1" fontAlgn="base" hangingPunct="1">
        <a:spcBef>
          <a:spcPct val="0"/>
        </a:spcBef>
        <a:spcAft>
          <a:spcPct val="0"/>
        </a:spcAft>
        <a:defRPr sz="3807" b="1">
          <a:solidFill>
            <a:schemeClr val="tx2">
              <a:alpha val="100000"/>
            </a:schemeClr>
          </a:solidFill>
          <a:latin typeface="Verdana"/>
        </a:defRPr>
      </a:lvl6pPr>
      <a:lvl7pPr marL="1243401" algn="l" eaLnBrk="1" fontAlgn="base" hangingPunct="1">
        <a:spcBef>
          <a:spcPct val="0"/>
        </a:spcBef>
        <a:spcAft>
          <a:spcPct val="0"/>
        </a:spcAft>
        <a:defRPr sz="3807" b="1">
          <a:solidFill>
            <a:schemeClr val="tx2">
              <a:alpha val="100000"/>
            </a:schemeClr>
          </a:solidFill>
          <a:latin typeface="Verdana"/>
        </a:defRPr>
      </a:lvl7pPr>
      <a:lvl8pPr marL="1865100" algn="l" eaLnBrk="1" fontAlgn="base" hangingPunct="1">
        <a:spcBef>
          <a:spcPct val="0"/>
        </a:spcBef>
        <a:spcAft>
          <a:spcPct val="0"/>
        </a:spcAft>
        <a:defRPr sz="3807" b="1">
          <a:solidFill>
            <a:schemeClr val="tx2">
              <a:alpha val="100000"/>
            </a:schemeClr>
          </a:solidFill>
          <a:latin typeface="Verdana"/>
        </a:defRPr>
      </a:lvl8pPr>
      <a:lvl9pPr marL="2486800" algn="l" eaLnBrk="1" fontAlgn="base" hangingPunct="1">
        <a:spcBef>
          <a:spcPct val="0"/>
        </a:spcBef>
        <a:spcAft>
          <a:spcPct val="0"/>
        </a:spcAft>
        <a:defRPr sz="3807" b="1">
          <a:solidFill>
            <a:schemeClr val="tx2">
              <a:alpha val="100000"/>
            </a:schemeClr>
          </a:solidFill>
          <a:latin typeface="Verdana"/>
        </a:defRPr>
      </a:lvl9pPr>
    </p:titleStyle>
    <p:bodyStyle>
      <a:lvl1pPr marL="466276" indent="-466276" algn="l" defTabSz="-18864709" rtl="0" eaLnBrk="1" fontAlgn="base" hangingPunct="1">
        <a:spcBef>
          <a:spcPts val="408"/>
        </a:spcBef>
        <a:spcAft>
          <a:spcPct val="0"/>
        </a:spcAft>
        <a:buFont typeface="Wingdings" pitchFamily="2" charset="2"/>
        <a:buChar char="§"/>
        <a:defRPr sz="2720" b="1">
          <a:solidFill>
            <a:schemeClr val="tx1"/>
          </a:solidFill>
          <a:latin typeface="Calibri" pitchFamily="34" charset="0"/>
          <a:ea typeface="+mn-ea"/>
          <a:cs typeface="Segoe UI" pitchFamily="34" charset="0"/>
        </a:defRPr>
      </a:lvl1pPr>
      <a:lvl2pPr marL="1010262" indent="-388563" algn="l" defTabSz="-18864709" rtl="0" eaLnBrk="1" fontAlgn="base" hangingPunct="1">
        <a:spcBef>
          <a:spcPts val="408"/>
        </a:spcBef>
        <a:spcAft>
          <a:spcPct val="0"/>
        </a:spcAft>
        <a:buSzPct val="50000"/>
        <a:buFont typeface="Wingdings" pitchFamily="2" charset="2"/>
        <a:buChar char="o"/>
        <a:defRPr sz="2448">
          <a:solidFill>
            <a:schemeClr val="tx1"/>
          </a:solidFill>
          <a:latin typeface="Calibri Light" pitchFamily="34" charset="0"/>
          <a:cs typeface="Segoe UI" pitchFamily="34" charset="0"/>
        </a:defRPr>
      </a:lvl2pPr>
      <a:lvl3pPr marL="1554251" indent="-310849" algn="l" defTabSz="-18864709" rtl="0" eaLnBrk="1" fontAlgn="base" hangingPunct="1">
        <a:spcBef>
          <a:spcPts val="408"/>
        </a:spcBef>
        <a:spcAft>
          <a:spcPct val="0"/>
        </a:spcAft>
        <a:buSzPct val="50000"/>
        <a:buFont typeface="Wingdings" pitchFamily="2" charset="2"/>
        <a:buChar char="o"/>
        <a:defRPr sz="2175">
          <a:solidFill>
            <a:schemeClr val="tx1"/>
          </a:solidFill>
          <a:latin typeface="Calibri Light" pitchFamily="34" charset="0"/>
          <a:cs typeface="Segoe UI" pitchFamily="34" charset="0"/>
        </a:defRPr>
      </a:lvl3pPr>
      <a:lvl4pPr marL="2175950" indent="-310849" algn="l" defTabSz="-18864709" rtl="0" eaLnBrk="1" fontAlgn="base" hangingPunct="1">
        <a:spcBef>
          <a:spcPts val="408"/>
        </a:spcBef>
        <a:spcAft>
          <a:spcPct val="0"/>
        </a:spcAft>
        <a:buSzPct val="50000"/>
        <a:buFont typeface="Wingdings" pitchFamily="2" charset="2"/>
        <a:buChar char="o"/>
        <a:defRPr sz="1904">
          <a:solidFill>
            <a:schemeClr val="tx1"/>
          </a:solidFill>
          <a:latin typeface="Calibri Light" pitchFamily="34" charset="0"/>
          <a:cs typeface="Segoe UI" pitchFamily="34" charset="0"/>
        </a:defRPr>
      </a:lvl4pPr>
      <a:lvl5pPr marL="2797649" indent="-310849" algn="l" defTabSz="-18864709" rtl="0" eaLnBrk="1" fontAlgn="base" hangingPunct="1">
        <a:spcBef>
          <a:spcPts val="408"/>
        </a:spcBef>
        <a:spcAft>
          <a:spcPct val="0"/>
        </a:spcAft>
        <a:buSzPct val="50000"/>
        <a:buFont typeface="Wingdings" pitchFamily="2" charset="2"/>
        <a:buChar char="o"/>
        <a:defRPr sz="1632">
          <a:solidFill>
            <a:schemeClr val="tx1"/>
          </a:solidFill>
          <a:latin typeface="Calibri Light" pitchFamily="34" charset="0"/>
          <a:cs typeface="Segoe UI" pitchFamily="34" charset="0"/>
        </a:defRPr>
      </a:lvl5pPr>
      <a:lvl6pPr marL="3419349"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6pPr>
      <a:lvl7pPr marL="40410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7pPr>
      <a:lvl8pPr marL="46627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8pPr>
      <a:lvl9pPr marL="5284450" indent="-310849" algn="l" eaLnBrk="1" fontAlgn="base" hangingPunct="1">
        <a:spcBef>
          <a:spcPct val="20000"/>
        </a:spcBef>
        <a:spcAft>
          <a:spcPct val="0"/>
        </a:spcAft>
        <a:buClr>
          <a:schemeClr val="accent1">
            <a:alpha val="100000"/>
          </a:schemeClr>
        </a:buClr>
        <a:buFont typeface="Wingdings"/>
        <a:buChar char=""/>
        <a:defRPr sz="1904"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621700" algn="l" eaLnBrk="1" fontAlgn="base" hangingPunct="1">
        <a:spcBef>
          <a:spcPct val="0"/>
        </a:spcBef>
        <a:spcAft>
          <a:spcPct val="0"/>
        </a:spcAft>
        <a:defRPr>
          <a:solidFill>
            <a:schemeClr val="tx1">
              <a:alpha val="100000"/>
            </a:schemeClr>
          </a:solidFill>
          <a:latin typeface="Arial"/>
        </a:defRPr>
      </a:lvl2pPr>
      <a:lvl3pPr marL="1243401" algn="l" eaLnBrk="1" fontAlgn="base" hangingPunct="1">
        <a:spcBef>
          <a:spcPct val="0"/>
        </a:spcBef>
        <a:spcAft>
          <a:spcPct val="0"/>
        </a:spcAft>
        <a:defRPr>
          <a:solidFill>
            <a:schemeClr val="tx1">
              <a:alpha val="100000"/>
            </a:schemeClr>
          </a:solidFill>
          <a:latin typeface="Arial"/>
        </a:defRPr>
      </a:lvl3pPr>
      <a:lvl4pPr marL="1865100" algn="l" eaLnBrk="1" fontAlgn="base" hangingPunct="1">
        <a:spcBef>
          <a:spcPct val="0"/>
        </a:spcBef>
        <a:spcAft>
          <a:spcPct val="0"/>
        </a:spcAft>
        <a:defRPr>
          <a:solidFill>
            <a:schemeClr val="tx1">
              <a:alpha val="100000"/>
            </a:schemeClr>
          </a:solidFill>
          <a:latin typeface="Arial"/>
        </a:defRPr>
      </a:lvl4pPr>
      <a:lvl5pPr marL="2486800" algn="l" eaLnBrk="1" fontAlgn="base" hangingPunct="1">
        <a:spcBef>
          <a:spcPct val="0"/>
        </a:spcBef>
        <a:spcAft>
          <a:spcPct val="0"/>
        </a:spcAft>
        <a:defRPr>
          <a:solidFill>
            <a:schemeClr val="tx1">
              <a:alpha val="100000"/>
            </a:schemeClr>
          </a:solidFill>
          <a:latin typeface="Arial"/>
        </a:defRPr>
      </a:lvl5pPr>
      <a:lvl6pPr marL="3108500" algn="l" eaLnBrk="1" fontAlgn="base" hangingPunct="1">
        <a:spcBef>
          <a:spcPct val="0"/>
        </a:spcBef>
        <a:spcAft>
          <a:spcPct val="0"/>
        </a:spcAft>
        <a:defRPr>
          <a:solidFill>
            <a:schemeClr val="tx1">
              <a:alpha val="100000"/>
            </a:schemeClr>
          </a:solidFill>
          <a:latin typeface="Arial"/>
        </a:defRPr>
      </a:lvl6pPr>
      <a:lvl7pPr marL="3730201" algn="l" eaLnBrk="1" fontAlgn="base" hangingPunct="1">
        <a:spcBef>
          <a:spcPct val="0"/>
        </a:spcBef>
        <a:spcAft>
          <a:spcPct val="0"/>
        </a:spcAft>
        <a:defRPr>
          <a:solidFill>
            <a:schemeClr val="tx1">
              <a:alpha val="100000"/>
            </a:schemeClr>
          </a:solidFill>
          <a:latin typeface="Arial"/>
        </a:defRPr>
      </a:lvl7pPr>
      <a:lvl8pPr marL="4351900" algn="l" eaLnBrk="1" fontAlgn="base" hangingPunct="1">
        <a:spcBef>
          <a:spcPct val="0"/>
        </a:spcBef>
        <a:spcAft>
          <a:spcPct val="0"/>
        </a:spcAft>
        <a:defRPr>
          <a:solidFill>
            <a:schemeClr val="tx1">
              <a:alpha val="100000"/>
            </a:schemeClr>
          </a:solidFill>
          <a:latin typeface="Arial"/>
        </a:defRPr>
      </a:lvl8pPr>
      <a:lvl9pPr marL="4973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slideLayout" Target="../slideLayouts/slideLayout25.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20.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4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3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2056"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4122" y="1620"/>
                        <a:ext cx="1619" cy="1619"/>
                      </a:xfrm>
                      <a:prstGeom prst="rect">
                        <a:avLst/>
                      </a:prstGeom>
                    </p:spPr>
                  </p:pic>
                </p:oleObj>
              </mc:Fallback>
            </mc:AlternateContent>
          </a:graphicData>
        </a:graphic>
      </p:graphicFrame>
      <p:grpSp>
        <p:nvGrpSpPr>
          <p:cNvPr id="852" name="Group 851"/>
          <p:cNvGrpSpPr/>
          <p:nvPr/>
        </p:nvGrpSpPr>
        <p:grpSpPr>
          <a:xfrm>
            <a:off x="8649742" y="955816"/>
            <a:ext cx="1826854" cy="1826850"/>
            <a:chOff x="8441230" y="913268"/>
            <a:chExt cx="1791196" cy="1791192"/>
          </a:xfrm>
        </p:grpSpPr>
        <p:sp>
          <p:nvSpPr>
            <p:cNvPr id="853" name="Freeform 852"/>
            <p:cNvSpPr>
              <a:spLocks noEditPoints="1"/>
            </p:cNvSpPr>
            <p:nvPr/>
          </p:nvSpPr>
          <p:spPr bwMode="black">
            <a:xfrm>
              <a:off x="9678332" y="1536353"/>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774074" y="1498691"/>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defTabSz="755481" eaLnBrk="1" fontAlgn="auto" latinLnBrk="0" hangingPunct="1">
                <a:lnSpc>
                  <a:spcPct val="100000"/>
                </a:lnSpc>
                <a:spcBef>
                  <a:spcPts val="0"/>
                </a:spcBef>
                <a:spcAft>
                  <a:spcPts val="0"/>
                </a:spcAft>
                <a:buClrTx/>
                <a:buSzTx/>
                <a:buFontTx/>
                <a:buNone/>
                <a:tabLst/>
                <a:defRPr/>
              </a:pPr>
              <a:endParaRPr kumimoji="0" lang="en-US" sz="2244" b="0" i="0" u="none" strike="noStrike" kern="0" cap="none" spc="-124"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41232" y="913266"/>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576999" y="1049038"/>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3260" tIns="46630" rIns="93260" bIns="46630" numCol="1" anchor="t" anchorCtr="0" compatLnSpc="1">
              <a:prstTxWarp prst="textNoShape">
                <a:avLst/>
              </a:prstTxWarp>
            </a:bodyPr>
            <a:lstStyle/>
            <a:p>
              <a:pPr marL="0" marR="0" lvl="0" indent="0" defTabSz="1243196" eaLnBrk="1" fontAlgn="auto" latinLnBrk="0" hangingPunct="1">
                <a:lnSpc>
                  <a:spcPct val="100000"/>
                </a:lnSpc>
                <a:spcBef>
                  <a:spcPts val="0"/>
                </a:spcBef>
                <a:spcAft>
                  <a:spcPts val="0"/>
                </a:spcAft>
                <a:buClrTx/>
                <a:buSzTx/>
                <a:buFontTx/>
                <a:buNone/>
                <a:tabLst/>
                <a:defRPr/>
              </a:pPr>
              <a:endParaRPr kumimoji="0" lang="en-US" sz="2346" b="0" i="0" u="none" strike="noStrike" kern="0" cap="none" spc="0" normalizeH="0" baseline="0" noProof="0" dirty="0">
                <a:ln>
                  <a:solidFill>
                    <a:srgbClr val="505050">
                      <a:alpha val="0"/>
                    </a:srgbClr>
                  </a:solidFill>
                </a:ln>
                <a:solidFill>
                  <a:srgbClr val="000000"/>
                </a:solidFill>
                <a:effectLst/>
                <a:uLnTx/>
                <a:uFillTx/>
              </a:endParaRPr>
            </a:p>
          </p:txBody>
        </p:sp>
      </p:grpSp>
      <p:sp>
        <p:nvSpPr>
          <p:cNvPr id="831" name="Freeform 830"/>
          <p:cNvSpPr/>
          <p:nvPr/>
        </p:nvSpPr>
        <p:spPr>
          <a:xfrm rot="18900000">
            <a:off x="2292982" y="2959300"/>
            <a:ext cx="200769" cy="766144"/>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413872" y="2762932"/>
            <a:ext cx="323821" cy="1111555"/>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51570" y="2725986"/>
            <a:ext cx="408014" cy="1280924"/>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510146" y="2655729"/>
            <a:ext cx="304391" cy="108692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609360" y="2586466"/>
            <a:ext cx="316921" cy="1261790"/>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76769" y="2562149"/>
            <a:ext cx="307630" cy="1039629"/>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706353" y="2453367"/>
            <a:ext cx="307786" cy="129054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705312" y="2275062"/>
            <a:ext cx="529446" cy="122239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273849" y="-477648"/>
            <a:ext cx="835457" cy="3089249"/>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532685" y="-107838"/>
            <a:ext cx="783646" cy="1126896"/>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912641" y="-245750"/>
            <a:ext cx="1301051" cy="1750170"/>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87937" y="-296281"/>
            <a:ext cx="1335062" cy="3372781"/>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6045881" y="2197642"/>
            <a:ext cx="1176135" cy="1375285"/>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543201" y="886433"/>
            <a:ext cx="1590554" cy="1085651"/>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88484" y="945248"/>
            <a:ext cx="1517205" cy="1424972"/>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66617" y="1138593"/>
            <a:ext cx="1502491" cy="1433794"/>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75753" y="574028"/>
            <a:ext cx="2697060" cy="2802963"/>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118091" y="626835"/>
            <a:ext cx="2615952" cy="2883625"/>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146953" y="696373"/>
            <a:ext cx="2536712" cy="2951673"/>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3033507" y="1064242"/>
            <a:ext cx="1871848" cy="2293580"/>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80744" y="1196655"/>
            <a:ext cx="1704199" cy="210924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472" name="Freeform 471"/>
          <p:cNvSpPr/>
          <p:nvPr/>
        </p:nvSpPr>
        <p:spPr>
          <a:xfrm>
            <a:off x="9459682" y="1450717"/>
            <a:ext cx="2977530" cy="2574374"/>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624832" y="2436752"/>
            <a:ext cx="2812381" cy="1627198"/>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853125" y="2519325"/>
            <a:ext cx="2574374" cy="1714631"/>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930842" y="3325637"/>
            <a:ext cx="2511229" cy="1612627"/>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6" name="Freeform 675"/>
          <p:cNvSpPr/>
          <p:nvPr/>
        </p:nvSpPr>
        <p:spPr>
          <a:xfrm>
            <a:off x="8732704" y="3918229"/>
            <a:ext cx="3717461" cy="2681235"/>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77" name="Freeform 676"/>
          <p:cNvSpPr/>
          <p:nvPr/>
        </p:nvSpPr>
        <p:spPr>
          <a:xfrm>
            <a:off x="8654988" y="3982993"/>
            <a:ext cx="3788701" cy="2836668"/>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678" name="Group 677"/>
          <p:cNvGrpSpPr/>
          <p:nvPr/>
        </p:nvGrpSpPr>
        <p:grpSpPr>
          <a:xfrm flipV="1">
            <a:off x="5246865" y="12952"/>
            <a:ext cx="2959720" cy="2260268"/>
            <a:chOff x="9017000" y="4648200"/>
            <a:chExt cx="2901950" cy="2216150"/>
          </a:xfrm>
        </p:grpSpPr>
        <p:sp>
          <p:nvSpPr>
            <p:cNvPr id="822" name="Freeform 821"/>
            <p:cNvSpPr/>
            <p:nvPr/>
          </p:nvSpPr>
          <p:spPr>
            <a:xfrm>
              <a:off x="9017000" y="534670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3" name="Freeform 822"/>
            <p:cNvSpPr/>
            <p:nvPr/>
          </p:nvSpPr>
          <p:spPr>
            <a:xfrm>
              <a:off x="9118600" y="55118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4" name="Freeform 823"/>
            <p:cNvSpPr/>
            <p:nvPr/>
          </p:nvSpPr>
          <p:spPr>
            <a:xfrm>
              <a:off x="9175750" y="570230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5" name="Freeform 824"/>
            <p:cNvSpPr/>
            <p:nvPr/>
          </p:nvSpPr>
          <p:spPr>
            <a:xfrm>
              <a:off x="9232900" y="46482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6" name="Freeform 825"/>
            <p:cNvSpPr/>
            <p:nvPr/>
          </p:nvSpPr>
          <p:spPr>
            <a:xfrm>
              <a:off x="9436100" y="530225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7" name="Freeform 826"/>
            <p:cNvSpPr/>
            <p:nvPr/>
          </p:nvSpPr>
          <p:spPr>
            <a:xfrm>
              <a:off x="9874250" y="56388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8" name="Freeform 827"/>
            <p:cNvSpPr/>
            <p:nvPr/>
          </p:nvSpPr>
          <p:spPr>
            <a:xfrm>
              <a:off x="10001250" y="521970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29" name="Freeform 828"/>
            <p:cNvSpPr/>
            <p:nvPr/>
          </p:nvSpPr>
          <p:spPr>
            <a:xfrm>
              <a:off x="10071100" y="46863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30" name="Freeform 829"/>
            <p:cNvSpPr/>
            <p:nvPr/>
          </p:nvSpPr>
          <p:spPr>
            <a:xfrm>
              <a:off x="10166350" y="54229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sp>
        <p:nvSpPr>
          <p:cNvPr id="679" name="Freeform 678"/>
          <p:cNvSpPr/>
          <p:nvPr/>
        </p:nvSpPr>
        <p:spPr>
          <a:xfrm>
            <a:off x="10669152" y="4203191"/>
            <a:ext cx="1761584" cy="997367"/>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1" name="Freeform 680"/>
          <p:cNvSpPr/>
          <p:nvPr/>
        </p:nvSpPr>
        <p:spPr>
          <a:xfrm>
            <a:off x="7579903" y="4358625"/>
            <a:ext cx="2648853" cy="2668282"/>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2" name="Freeform 681"/>
          <p:cNvSpPr/>
          <p:nvPr/>
        </p:nvSpPr>
        <p:spPr>
          <a:xfrm>
            <a:off x="7145984" y="4481677"/>
            <a:ext cx="2597041" cy="2512848"/>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683" name="Freeform 682"/>
          <p:cNvSpPr/>
          <p:nvPr/>
        </p:nvSpPr>
        <p:spPr>
          <a:xfrm>
            <a:off x="7003502" y="4358625"/>
            <a:ext cx="3030961" cy="2648853"/>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405404" y="3407143"/>
            <a:ext cx="2431569" cy="2317496"/>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75552" y="2588279"/>
            <a:ext cx="2630106" cy="1320370"/>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57553" y="129528"/>
            <a:ext cx="3296002" cy="1414448"/>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74571" y="2223029"/>
            <a:ext cx="2560102" cy="349726"/>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4" name="Freeform 783"/>
          <p:cNvSpPr/>
          <p:nvPr/>
        </p:nvSpPr>
        <p:spPr>
          <a:xfrm>
            <a:off x="6550359" y="2722411"/>
            <a:ext cx="2974513" cy="4299791"/>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5" name="Freeform 784"/>
          <p:cNvSpPr/>
          <p:nvPr/>
        </p:nvSpPr>
        <p:spPr>
          <a:xfrm>
            <a:off x="8926042" y="2702778"/>
            <a:ext cx="137437" cy="2061544"/>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2" name="Freeform 801"/>
          <p:cNvSpPr/>
          <p:nvPr/>
        </p:nvSpPr>
        <p:spPr>
          <a:xfrm>
            <a:off x="2309723" y="1300140"/>
            <a:ext cx="738311" cy="179720"/>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3" name="Freeform 802"/>
          <p:cNvSpPr/>
          <p:nvPr/>
        </p:nvSpPr>
        <p:spPr>
          <a:xfrm>
            <a:off x="2342992" y="1309855"/>
            <a:ext cx="956890" cy="218578"/>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70621" y="1134991"/>
            <a:ext cx="684881" cy="3740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5" name="Freeform 804"/>
          <p:cNvSpPr/>
          <p:nvPr/>
        </p:nvSpPr>
        <p:spPr>
          <a:xfrm>
            <a:off x="8405749" y="2270835"/>
            <a:ext cx="441760" cy="1119124"/>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6" name="Freeform 805"/>
          <p:cNvSpPr/>
          <p:nvPr/>
        </p:nvSpPr>
        <p:spPr>
          <a:xfrm>
            <a:off x="8386114" y="3723731"/>
            <a:ext cx="392675" cy="1099491"/>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7" name="Freeform 806"/>
          <p:cNvSpPr/>
          <p:nvPr/>
        </p:nvSpPr>
        <p:spPr>
          <a:xfrm>
            <a:off x="8405749" y="4037873"/>
            <a:ext cx="235606"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8" name="Freeform 807"/>
          <p:cNvSpPr/>
          <p:nvPr/>
        </p:nvSpPr>
        <p:spPr>
          <a:xfrm>
            <a:off x="624237" y="3717460"/>
            <a:ext cx="6554129" cy="330297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09" name="Freeform 808"/>
          <p:cNvSpPr/>
          <p:nvPr/>
        </p:nvSpPr>
        <p:spPr>
          <a:xfrm>
            <a:off x="779671" y="4054233"/>
            <a:ext cx="6385742" cy="2953244"/>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90539" y="4403960"/>
            <a:ext cx="7033383" cy="2590565"/>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2" name="Freeform 811"/>
          <p:cNvSpPr/>
          <p:nvPr/>
        </p:nvSpPr>
        <p:spPr>
          <a:xfrm>
            <a:off x="7061790" y="4326243"/>
            <a:ext cx="738311" cy="1683867"/>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3" name="Freeform 812"/>
          <p:cNvSpPr/>
          <p:nvPr/>
        </p:nvSpPr>
        <p:spPr>
          <a:xfrm>
            <a:off x="7165413" y="4326243"/>
            <a:ext cx="336773" cy="1204613"/>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4" name="Freeform 813"/>
          <p:cNvSpPr/>
          <p:nvPr/>
        </p:nvSpPr>
        <p:spPr>
          <a:xfrm>
            <a:off x="6933216" y="2319920"/>
            <a:ext cx="873702" cy="814801"/>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5" name="Freeform 814"/>
          <p:cNvSpPr/>
          <p:nvPr/>
        </p:nvSpPr>
        <p:spPr>
          <a:xfrm>
            <a:off x="6933218" y="2162849"/>
            <a:ext cx="1158391" cy="932603"/>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6" name="Freeform 815"/>
          <p:cNvSpPr/>
          <p:nvPr/>
        </p:nvSpPr>
        <p:spPr>
          <a:xfrm>
            <a:off x="6923400" y="2015596"/>
            <a:ext cx="520294"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818" name="Freeform 817"/>
          <p:cNvSpPr/>
          <p:nvPr/>
        </p:nvSpPr>
        <p:spPr>
          <a:xfrm>
            <a:off x="9522827" y="533656"/>
            <a:ext cx="1080266" cy="427443"/>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040" b="0" i="0" u="none" strike="noStrike" kern="0" cap="none" spc="0" normalizeH="0" baseline="0" noProof="0" dirty="0">
              <a:ln>
                <a:noFill/>
              </a:ln>
              <a:solidFill>
                <a:prstClr val="white"/>
              </a:solidFill>
              <a:effectLst/>
              <a:uLnTx/>
              <a:uFillTx/>
            </a:endParaRPr>
          </a:p>
        </p:txBody>
      </p:sp>
      <p:sp>
        <p:nvSpPr>
          <p:cNvPr id="819" name="Freeform 818"/>
          <p:cNvSpPr/>
          <p:nvPr/>
        </p:nvSpPr>
        <p:spPr>
          <a:xfrm>
            <a:off x="9110927" y="347135"/>
            <a:ext cx="1484394" cy="59842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7" name="Group 1156"/>
          <p:cNvGrpSpPr/>
          <p:nvPr/>
        </p:nvGrpSpPr>
        <p:grpSpPr>
          <a:xfrm>
            <a:off x="7151576" y="3078735"/>
            <a:ext cx="1268581" cy="1268575"/>
            <a:chOff x="7017864" y="3022334"/>
            <a:chExt cx="1243820" cy="1243814"/>
          </a:xfrm>
        </p:grpSpPr>
        <p:sp>
          <p:nvSpPr>
            <p:cNvPr id="1158" name="Rounded Rectangle 5"/>
            <p:cNvSpPr/>
            <p:nvPr/>
          </p:nvSpPr>
          <p:spPr>
            <a:xfrm>
              <a:off x="7203873" y="3345744"/>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7864" y="3022334"/>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1428" b="0" i="0" u="none" strike="noStrike" kern="0" cap="none" spc="0" normalizeH="0" baseline="0" noProof="0" dirty="0">
                  <a:ln>
                    <a:noFill/>
                  </a:ln>
                  <a:solidFill>
                    <a:prstClr val="white"/>
                  </a:solidFill>
                  <a:effectLst/>
                  <a:uLnTx/>
                  <a:uFillTx/>
                </a:endParaRPr>
              </a:p>
            </p:txBody>
          </p:sp>
        </p:grpSp>
      </p:grpSp>
      <p:sp>
        <p:nvSpPr>
          <p:cNvPr id="448" name="Freeform 447"/>
          <p:cNvSpPr/>
          <p:nvPr/>
        </p:nvSpPr>
        <p:spPr>
          <a:xfrm>
            <a:off x="769758" y="5240659"/>
            <a:ext cx="2548184" cy="167782"/>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387499" y="4947916"/>
            <a:ext cx="277106" cy="399358"/>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0" name="Freeform 789"/>
          <p:cNvSpPr/>
          <p:nvPr/>
        </p:nvSpPr>
        <p:spPr>
          <a:xfrm>
            <a:off x="11104712" y="5102766"/>
            <a:ext cx="163004" cy="26895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sp>
        <p:nvSpPr>
          <p:cNvPr id="791" name="Freeform 790"/>
          <p:cNvSpPr/>
          <p:nvPr/>
        </p:nvSpPr>
        <p:spPr>
          <a:xfrm>
            <a:off x="9368726" y="5714030"/>
            <a:ext cx="676464" cy="823167"/>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09758" eaLnBrk="1" fontAlgn="auto" latinLnBrk="0" hangingPunct="1">
              <a:lnSpc>
                <a:spcPct val="100000"/>
              </a:lnSpc>
              <a:spcBef>
                <a:spcPts val="0"/>
              </a:spcBef>
              <a:spcAft>
                <a:spcPts val="0"/>
              </a:spcAft>
              <a:buClrTx/>
              <a:buSzTx/>
              <a:buFontTx/>
              <a:buNone/>
              <a:tabLst/>
              <a:defRPr/>
            </a:pPr>
            <a:endParaRPr kumimoji="0" lang="en-US" sz="2244" b="0" i="0" u="none" strike="noStrike" kern="0" cap="none" spc="0" normalizeH="0" baseline="0" noProof="0" dirty="0">
              <a:ln>
                <a:noFill/>
              </a:ln>
              <a:solidFill>
                <a:prstClr val="white"/>
              </a:solidFill>
              <a:effectLst/>
              <a:uLnTx/>
              <a:uFillTx/>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3" y="1"/>
            <a:ext cx="2231124" cy="820704"/>
          </a:xfrm>
          <a:prstGeom prst="rect">
            <a:avLst/>
          </a:prstGeom>
        </p:spPr>
      </p:pic>
      <p:sp>
        <p:nvSpPr>
          <p:cNvPr id="4" name="TextBox 3"/>
          <p:cNvSpPr txBox="1"/>
          <p:nvPr/>
        </p:nvSpPr>
        <p:spPr>
          <a:xfrm>
            <a:off x="229691" y="4096004"/>
            <a:ext cx="6314158" cy="2569136"/>
          </a:xfrm>
          <a:prstGeom prst="rect">
            <a:avLst/>
          </a:prstGeom>
        </p:spPr>
        <p:txBody>
          <a:bodyPr vert="horz" wrap="square" lIns="93260" tIns="93260" rIns="93260" bIns="93260" rtlCol="0" anchor="t">
            <a:noAutofit/>
          </a:bodyPr>
          <a:lstStyle/>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3600" b="1" i="0" u="none" strike="noStrike" kern="0" cap="none" spc="0" normalizeH="0" baseline="0" noProof="0" dirty="0">
                <a:ln>
                  <a:noFill/>
                </a:ln>
                <a:solidFill>
                  <a:srgbClr val="0072C6"/>
                </a:solidFill>
                <a:effectLst/>
                <a:uLnTx/>
                <a:uFillTx/>
                <a:latin typeface="Segoe UI Light"/>
              </a:rPr>
              <a:t>The Cortana Intelligence Suite</a:t>
            </a:r>
          </a:p>
          <a:p>
            <a:pPr marL="0" marR="0" lvl="0" indent="0" algn="ctr" defTabSz="932520" eaLnBrk="1" fontAlgn="auto" latinLnBrk="0" hangingPunct="1">
              <a:lnSpc>
                <a:spcPct val="100000"/>
              </a:lnSpc>
              <a:spcBef>
                <a:spcPts val="1224"/>
              </a:spcBef>
              <a:spcAft>
                <a:spcPts val="0"/>
              </a:spcAft>
              <a:buClrTx/>
              <a:buSzTx/>
              <a:buFontTx/>
              <a:buNone/>
              <a:tabLst/>
              <a:defRPr/>
            </a:pPr>
            <a:r>
              <a:rPr kumimoji="0" lang="en-US" sz="2800" b="1" i="0" u="none" strike="noStrike" kern="0" cap="none" spc="-102" normalizeH="0" baseline="0" noProof="0" dirty="0">
                <a:ln w="3175">
                  <a:noFill/>
                </a:ln>
                <a:solidFill>
                  <a:srgbClr val="0072C6"/>
                </a:solidFill>
                <a:effectLst/>
                <a:uLnTx/>
                <a:uFillTx/>
                <a:latin typeface="Segoe UI Light"/>
              </a:rPr>
              <a:t>Foundations – Evaluating the Model</a:t>
            </a:r>
            <a:endParaRPr kumimoji="0" lang="en-US" sz="2000" b="0" i="0" u="none" strike="noStrike" kern="0" cap="none" spc="0" normalizeH="0" baseline="0" noProof="0" dirty="0">
              <a:ln>
                <a:noFill/>
              </a:ln>
              <a:solidFill>
                <a:srgbClr val="FFFFFF">
                  <a:lumMod val="75000"/>
                </a:srgb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chemeClr val="bg1">
                  <a:lumMod val="50000"/>
                </a:schemeClr>
              </a:solidFill>
              <a:effectLst/>
              <a:uLnTx/>
              <a:uFillTx/>
              <a:latin typeface="Segoe UI Light"/>
            </a:endParaRP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000" b="0" i="0" u="none" strike="noStrike" kern="0" cap="none" spc="0" normalizeH="0" baseline="0" noProof="0" dirty="0">
                <a:ln>
                  <a:noFill/>
                </a:ln>
                <a:solidFill>
                  <a:schemeClr val="bg1">
                    <a:lumMod val="50000"/>
                  </a:schemeClr>
                </a:solidFill>
                <a:effectLst/>
                <a:uLnTx/>
                <a:uFillTx/>
                <a:latin typeface="Segoe UI Light"/>
              </a:rPr>
              <a:t>Microsoft Machine Learning and Data Science Team</a:t>
            </a:r>
          </a:p>
          <a:p>
            <a:pPr marL="0" marR="0" lvl="0" indent="0" algn="ctr" defTabSz="914400" eaLnBrk="1" fontAlgn="auto" latinLnBrk="0" hangingPunct="1">
              <a:lnSpc>
                <a:spcPct val="90000"/>
              </a:lnSpc>
              <a:spcBef>
                <a:spcPts val="0"/>
              </a:spcBef>
              <a:spcAft>
                <a:spcPts val="0"/>
              </a:spcAft>
              <a:buClrTx/>
              <a:buSzPct val="90000"/>
              <a:buFontTx/>
              <a:buNone/>
              <a:tabLst/>
              <a:defRPr/>
            </a:pPr>
            <a:r>
              <a:rPr kumimoji="0" lang="en-US" sz="2400" b="0" i="0" u="none" strike="noStrike" kern="0" cap="none" spc="0" normalizeH="0" baseline="0" noProof="0" dirty="0">
                <a:ln>
                  <a:noFill/>
                </a:ln>
                <a:solidFill>
                  <a:srgbClr val="00BCF2"/>
                </a:solidFill>
                <a:effectLst/>
                <a:uLnTx/>
                <a:uFillTx/>
                <a:latin typeface="Segoe UI Light"/>
              </a:rPr>
              <a:t>CortanaIntelligence.com</a:t>
            </a:r>
          </a:p>
        </p:txBody>
      </p:sp>
      <p:pic>
        <p:nvPicPr>
          <p:cNvPr id="304" name="Picture 303"/>
          <p:cNvPicPr>
            <a:picLocks noChangeAspect="1"/>
          </p:cNvPicPr>
          <p:nvPr/>
        </p:nvPicPr>
        <p:blipFill>
          <a:blip r:embed="rId8"/>
          <a:stretch>
            <a:fillRect/>
          </a:stretch>
        </p:blipFill>
        <p:spPr>
          <a:xfrm>
            <a:off x="1720531" y="1540725"/>
            <a:ext cx="877740" cy="1586684"/>
          </a:xfrm>
          <a:prstGeom prst="rect">
            <a:avLst/>
          </a:prstGeom>
        </p:spPr>
      </p:pic>
      <p:pic>
        <p:nvPicPr>
          <p:cNvPr id="305" name="Picture 304"/>
          <p:cNvPicPr>
            <a:picLocks noChangeAspect="1"/>
          </p:cNvPicPr>
          <p:nvPr/>
        </p:nvPicPr>
        <p:blipFill>
          <a:blip r:embed="rId9"/>
          <a:stretch>
            <a:fillRect/>
          </a:stretch>
        </p:blipFill>
        <p:spPr>
          <a:xfrm>
            <a:off x="190544" y="736940"/>
            <a:ext cx="2560320" cy="2560320"/>
          </a:xfrm>
          <a:prstGeom prst="rect">
            <a:avLst/>
          </a:prstGeom>
        </p:spPr>
      </p:pic>
      <p:sp>
        <p:nvSpPr>
          <p:cNvPr id="306" name="Text Placeholder 2"/>
          <p:cNvSpPr txBox="1">
            <a:spLocks/>
          </p:cNvSpPr>
          <p:nvPr/>
        </p:nvSpPr>
        <p:spPr bwMode="auto">
          <a:xfrm>
            <a:off x="5759449" y="4763911"/>
            <a:ext cx="6402388" cy="9806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64646">
                      <a:srgbClr val="FFFFFF"/>
                    </a:gs>
                    <a:gs pos="45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defRPr/>
            </a:pPr>
            <a:endParaRPr kumimoji="0" lang="en-US" sz="2400" b="0" i="0" u="none" strike="noStrike" kern="1200" cap="none" spc="0" normalizeH="0" baseline="0" noProof="0" dirty="0">
              <a:ln>
                <a:noFill/>
              </a:ln>
              <a:solidFill>
                <a:srgbClr val="00BCF2"/>
              </a:solidFill>
              <a:effectLst/>
              <a:uLnTx/>
              <a:uFillTx/>
              <a:latin typeface="Segoe UI Light"/>
              <a:ea typeface="+mn-ea"/>
              <a:cs typeface="+mn-cs"/>
            </a:endParaRPr>
          </a:p>
        </p:txBody>
      </p:sp>
    </p:spTree>
    <p:extLst>
      <p:ext uri="{BB962C8B-B14F-4D97-AF65-F5344CB8AC3E}">
        <p14:creationId xmlns:p14="http://schemas.microsoft.com/office/powerpoint/2010/main" val="91613941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Options for Data Access</a:t>
            </a:r>
          </a:p>
        </p:txBody>
      </p:sp>
      <p:sp>
        <p:nvSpPr>
          <p:cNvPr id="3" name="Rectangle 2"/>
          <p:cNvSpPr/>
          <p:nvPr/>
        </p:nvSpPr>
        <p:spPr>
          <a:xfrm>
            <a:off x="514235" y="1858271"/>
            <a:ext cx="8711776" cy="3046988"/>
          </a:xfrm>
          <a:prstGeom prst="rect">
            <a:avLst/>
          </a:prstGeom>
        </p:spPr>
        <p:txBody>
          <a:bodyPr wrap="square">
            <a:spAutoFit/>
          </a:bodyPr>
          <a:lstStyle/>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Power BI / Excel </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Query Tool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Code</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3</a:t>
            </a:r>
            <a:r>
              <a:rPr lang="en-US" sz="4800" baseline="30000" dirty="0">
                <a:solidFill>
                  <a:srgbClr val="002864"/>
                </a:solidFill>
                <a:cs typeface="Times New Roman" panose="02020603050405020304" pitchFamily="18" charset="0"/>
              </a:rPr>
              <a:t>rd</a:t>
            </a:r>
            <a:r>
              <a:rPr lang="en-US" sz="4800" dirty="0">
                <a:solidFill>
                  <a:srgbClr val="002864"/>
                </a:solidFill>
                <a:cs typeface="Times New Roman" panose="02020603050405020304" pitchFamily="18" charset="0"/>
              </a:rPr>
              <a:t> Party</a:t>
            </a:r>
            <a:endParaRPr lang="en-US" sz="4800" dirty="0">
              <a:solidFill>
                <a:srgbClr val="00B050"/>
              </a:solidFill>
            </a:endParaRPr>
          </a:p>
        </p:txBody>
      </p:sp>
    </p:spTree>
    <p:extLst>
      <p:ext uri="{BB962C8B-B14F-4D97-AF65-F5344CB8AC3E}">
        <p14:creationId xmlns:p14="http://schemas.microsoft.com/office/powerpoint/2010/main" val="340267919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a:stretch/>
        </p:blipFill>
        <p:spPr>
          <a:xfrm>
            <a:off x="882" y="-1"/>
            <a:ext cx="12868409" cy="6994525"/>
          </a:xfrm>
          <a:prstGeom prst="rect">
            <a:avLst/>
          </a:prstGeom>
          <a:noFill/>
          <a:ln>
            <a:noFill/>
          </a:ln>
        </p:spPr>
      </p:pic>
      <p:sp>
        <p:nvSpPr>
          <p:cNvPr id="7" name="Rectangle 6"/>
          <p:cNvSpPr/>
          <p:nvPr/>
        </p:nvSpPr>
        <p:spPr bwMode="ltGray">
          <a:xfrm>
            <a:off x="264724" y="297302"/>
            <a:ext cx="5485622" cy="638914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FFFF00"/>
              </a:solidFill>
              <a:effectLst/>
              <a:uLnTx/>
              <a:uFillTx/>
              <a:ea typeface="Segoe UI" pitchFamily="34" charset="0"/>
              <a:cs typeface="Segoe UI" pitchFamily="34" charset="0"/>
            </a:endParaRPr>
          </a:p>
          <a:p>
            <a:pPr lvl="0" defTabSz="932293" fontAlgn="base">
              <a:lnSpc>
                <a:spcPct val="90000"/>
              </a:lnSpc>
              <a:spcBef>
                <a:spcPct val="0"/>
              </a:spcBef>
              <a:spcAft>
                <a:spcPct val="0"/>
              </a:spcAft>
            </a:pPr>
            <a:r>
              <a:rPr lang="en-US" sz="3200" kern="0" dirty="0">
                <a:solidFill>
                  <a:srgbClr val="FFFF00"/>
                </a:solidFill>
                <a:ea typeface="Segoe UI" pitchFamily="34" charset="0"/>
                <a:cs typeface="Segoe UI" pitchFamily="34" charset="0"/>
              </a:rPr>
              <a:t>Connecting to an Azure SQL Database</a:t>
            </a:r>
          </a:p>
        </p:txBody>
      </p:sp>
      <p:sp>
        <p:nvSpPr>
          <p:cNvPr id="17" name="Title 16"/>
          <p:cNvSpPr>
            <a:spLocks noGrp="1"/>
          </p:cNvSpPr>
          <p:nvPr>
            <p:ph type="title"/>
          </p:nvPr>
        </p:nvSpPr>
        <p:spPr/>
        <p:txBody>
          <a:bodyPr>
            <a:normAutofit fontScale="90000"/>
          </a:bodyPr>
          <a:lstStyle/>
          <a:p>
            <a:r>
              <a:rPr lang="en-US" dirty="0"/>
              <a:t>Lab:</a:t>
            </a:r>
          </a:p>
        </p:txBody>
      </p:sp>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tretch/>
        </p:blipFill>
        <p:spPr bwMode="invGray">
          <a:xfrm>
            <a:off x="10343775" y="478447"/>
            <a:ext cx="1627533" cy="347422"/>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4320" y="6270597"/>
            <a:ext cx="1927704" cy="443451"/>
          </a:xfrm>
          <a:prstGeom prst="rect">
            <a:avLst/>
          </a:prstGeom>
        </p:spPr>
      </p:pic>
    </p:spTree>
    <p:extLst>
      <p:ext uri="{BB962C8B-B14F-4D97-AF65-F5344CB8AC3E}">
        <p14:creationId xmlns:p14="http://schemas.microsoft.com/office/powerpoint/2010/main" val="26500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3: </a:t>
            </a:r>
            <a:br>
              <a:rPr lang="en-US" dirty="0"/>
            </a:br>
            <a:r>
              <a:rPr lang="en-US" sz="4400" dirty="0"/>
              <a:t>Accessing Data from API-based Sources</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94503640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71450"/>
            <a:ext cx="11888788" cy="917575"/>
          </a:xfrm>
        </p:spPr>
        <p:txBody>
          <a:bodyPr/>
          <a:lstStyle/>
          <a:p>
            <a:r>
              <a:rPr lang="en-US" sz="5400" dirty="0"/>
              <a:t>Options for Data Sourcing</a:t>
            </a:r>
          </a:p>
        </p:txBody>
      </p:sp>
      <p:sp>
        <p:nvSpPr>
          <p:cNvPr id="3" name="Rectangle 2"/>
          <p:cNvSpPr/>
          <p:nvPr/>
        </p:nvSpPr>
        <p:spPr>
          <a:xfrm>
            <a:off x="2196279" y="2219516"/>
            <a:ext cx="8711776" cy="2308324"/>
          </a:xfrm>
          <a:prstGeom prst="rect">
            <a:avLst/>
          </a:prstGeom>
        </p:spPr>
        <p:txBody>
          <a:bodyPr wrap="square">
            <a:spAutoFit/>
          </a:bodyPr>
          <a:lstStyle/>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API Source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Storage Sources</a:t>
            </a:r>
          </a:p>
          <a:p>
            <a:pPr marL="685800" indent="-685800">
              <a:buFont typeface="Arial" panose="020B0604020202020204" pitchFamily="34" charset="0"/>
              <a:buChar char="•"/>
            </a:pPr>
            <a:r>
              <a:rPr lang="en-US" sz="4800" dirty="0">
                <a:solidFill>
                  <a:srgbClr val="002864"/>
                </a:solidFill>
                <a:cs typeface="Times New Roman" panose="02020603050405020304" pitchFamily="18" charset="0"/>
              </a:rPr>
              <a:t>Coding access (REST)</a:t>
            </a:r>
            <a:endParaRPr lang="en-US" sz="4800" dirty="0">
              <a:solidFill>
                <a:srgbClr val="00B050"/>
              </a:solidFill>
            </a:endParaRPr>
          </a:p>
        </p:txBody>
      </p:sp>
    </p:spTree>
    <p:extLst>
      <p:ext uri="{BB962C8B-B14F-4D97-AF65-F5344CB8AC3E}">
        <p14:creationId xmlns:p14="http://schemas.microsoft.com/office/powerpoint/2010/main" val="243137074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ext Placeholder 2"/>
          <p:cNvSpPr txBox="1">
            <a:spLocks/>
          </p:cNvSpPr>
          <p:nvPr/>
        </p:nvSpPr>
        <p:spPr>
          <a:xfrm>
            <a:off x="4450580" y="978046"/>
            <a:ext cx="7514284" cy="500136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evaluate the efficacy and performance of an Azure ML experiment</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Understand how to evaluate the efficacy and performance of an MSR ML experiment</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Access and show data from Azure Storage</a:t>
            </a:r>
          </a:p>
          <a:p>
            <a:pPr marL="514350" indent="-514350">
              <a:lnSpc>
                <a:spcPct val="100000"/>
              </a:lnSpc>
              <a:spcBef>
                <a:spcPts val="1000"/>
              </a:spcBef>
              <a:buFont typeface="Arial" pitchFamily="34" charset="0"/>
              <a:buAutoNum type="arabicPeriod"/>
            </a:pPr>
            <a:r>
              <a:rPr lang="en-US" sz="3200" dirty="0">
                <a:solidFill>
                  <a:schemeClr val="bg1"/>
                </a:solidFill>
                <a:latin typeface="Segoe UI Light"/>
              </a:rPr>
              <a:t>Access and Query Azure SQL DB</a:t>
            </a:r>
          </a:p>
        </p:txBody>
      </p:sp>
    </p:spTree>
    <p:extLst>
      <p:ext uri="{BB962C8B-B14F-4D97-AF65-F5344CB8AC3E}">
        <p14:creationId xmlns:p14="http://schemas.microsoft.com/office/powerpoint/2010/main" val="555247025"/>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36764" y="1803064"/>
            <a:ext cx="7514284" cy="56220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lnSpc>
                <a:spcPct val="100000"/>
              </a:lnSpc>
              <a:spcBef>
                <a:spcPts val="1000"/>
              </a:spcBef>
              <a:buAutoNum type="arabicPeriod"/>
            </a:pPr>
            <a:r>
              <a:rPr lang="en-US" sz="3200" dirty="0">
                <a:solidFill>
                  <a:srgbClr val="00B050"/>
                </a:solidFill>
                <a:latin typeface="Segoe UI Light"/>
              </a:rPr>
              <a:t>Understand how to evaluate the efficacy and performance of an Azure ML experiment</a:t>
            </a:r>
          </a:p>
          <a:p>
            <a:pPr marL="514350" indent="-514350">
              <a:lnSpc>
                <a:spcPct val="100000"/>
              </a:lnSpc>
              <a:spcBef>
                <a:spcPts val="1000"/>
              </a:spcBef>
              <a:buAutoNum type="arabicPeriod"/>
            </a:pPr>
            <a:r>
              <a:rPr lang="en-US" sz="3200" dirty="0">
                <a:solidFill>
                  <a:srgbClr val="00B050"/>
                </a:solidFill>
                <a:latin typeface="Segoe UI Light"/>
              </a:rPr>
              <a:t>Understand how to evaluate the efficacy and performance of an MSR ML experiment</a:t>
            </a:r>
          </a:p>
          <a:p>
            <a:pPr marL="514350" indent="-514350">
              <a:lnSpc>
                <a:spcPct val="100000"/>
              </a:lnSpc>
              <a:spcBef>
                <a:spcPts val="1000"/>
              </a:spcBef>
              <a:buAutoNum type="arabicPeriod"/>
            </a:pPr>
            <a:r>
              <a:rPr lang="en-US" sz="3200" dirty="0">
                <a:solidFill>
                  <a:srgbClr val="00B050"/>
                </a:solidFill>
                <a:latin typeface="Segoe UI Light"/>
              </a:rPr>
              <a:t>Access and show data from Azure Storage</a:t>
            </a:r>
          </a:p>
          <a:p>
            <a:pPr marL="514350" indent="-514350">
              <a:lnSpc>
                <a:spcPct val="100000"/>
              </a:lnSpc>
              <a:spcBef>
                <a:spcPts val="1000"/>
              </a:spcBef>
              <a:buAutoNum type="arabicPeriod"/>
            </a:pPr>
            <a:r>
              <a:rPr lang="en-US" sz="3200" dirty="0">
                <a:solidFill>
                  <a:srgbClr val="00B050"/>
                </a:solidFill>
                <a:latin typeface="Segoe UI Light"/>
              </a:rPr>
              <a:t>Access and Query Azure SQL DB</a:t>
            </a:r>
          </a:p>
          <a:p>
            <a:pPr marL="514350" indent="-514350">
              <a:lnSpc>
                <a:spcPct val="100000"/>
              </a:lnSpc>
              <a:spcBef>
                <a:spcPts val="1000"/>
              </a:spcBef>
              <a:buAutoNum type="arabicPeriod"/>
            </a:pPr>
            <a:endParaRPr lang="en-US" sz="3200" dirty="0">
              <a:solidFill>
                <a:srgbClr val="00B050"/>
              </a:solidFill>
              <a:latin typeface="Segoe UI Light"/>
            </a:endParaRPr>
          </a:p>
        </p:txBody>
      </p:sp>
      <p:sp>
        <p:nvSpPr>
          <p:cNvPr id="7" name="Title 1"/>
          <p:cNvSpPr txBox="1">
            <a:spLocks/>
          </p:cNvSpPr>
          <p:nvPr/>
        </p:nvSpPr>
        <p:spPr>
          <a:xfrm>
            <a:off x="0" y="0"/>
            <a:ext cx="7787812" cy="158326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7080">
                      <a:schemeClr val="tx1"/>
                    </a:gs>
                    <a:gs pos="26000">
                      <a:schemeClr val="tx1"/>
                    </a:gs>
                  </a:gsLst>
                  <a:lin ang="5400000" scaled="0"/>
                </a:gradFill>
                <a:effectLst/>
                <a:latin typeface="+mj-lt"/>
                <a:ea typeface="+mn-ea"/>
                <a:cs typeface="Segoe UI" pitchFamily="34" charset="0"/>
              </a:defRPr>
            </a:lvl1pPr>
          </a:lstStyle>
          <a:p>
            <a:r>
              <a:rPr lang="en-US" sz="5400" dirty="0">
                <a:solidFill>
                  <a:srgbClr val="005AA1"/>
                </a:solidFill>
              </a:rPr>
              <a:t>Section</a:t>
            </a:r>
            <a:r>
              <a:rPr sz="5400" dirty="0">
                <a:solidFill>
                  <a:srgbClr val="005AA1"/>
                </a:solidFill>
              </a:rPr>
              <a:t> </a:t>
            </a:r>
            <a:r>
              <a:rPr lang="en-US" sz="5400" dirty="0">
                <a:solidFill>
                  <a:srgbClr val="005AA1"/>
                </a:solidFill>
              </a:rPr>
              <a:t>5</a:t>
            </a:r>
            <a:r>
              <a:rPr sz="5400" dirty="0">
                <a:solidFill>
                  <a:srgbClr val="005AA1"/>
                </a:solidFill>
              </a:rPr>
              <a:t> Learning Objectives</a:t>
            </a:r>
            <a:endParaRPr sz="4800" dirty="0">
              <a:solidFill>
                <a:srgbClr val="005AA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866743" y="-1"/>
            <a:ext cx="4569732" cy="6994525"/>
          </a:xfrm>
          <a:prstGeom prst="rect">
            <a:avLst/>
          </a:prstGeom>
        </p:spPr>
      </p:pic>
    </p:spTree>
    <p:extLst>
      <p:ext uri="{BB962C8B-B14F-4D97-AF65-F5344CB8AC3E}">
        <p14:creationId xmlns:p14="http://schemas.microsoft.com/office/powerpoint/2010/main" val="267724103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ata Science Process and Platform</a:t>
            </a:r>
          </a:p>
        </p:txBody>
      </p:sp>
      <p:pic>
        <p:nvPicPr>
          <p:cNvPr id="5" name="Picture 4"/>
          <p:cNvPicPr>
            <a:picLocks noChangeAspect="1"/>
          </p:cNvPicPr>
          <p:nvPr/>
        </p:nvPicPr>
        <p:blipFill>
          <a:blip r:embed="rId3"/>
          <a:stretch>
            <a:fillRect/>
          </a:stretch>
        </p:blipFill>
        <p:spPr>
          <a:xfrm>
            <a:off x="2665503" y="2115427"/>
            <a:ext cx="7354808" cy="2902911"/>
          </a:xfrm>
          <a:prstGeom prst="rect">
            <a:avLst/>
          </a:prstGeom>
        </p:spPr>
      </p:pic>
    </p:spTree>
    <p:extLst>
      <p:ext uri="{BB962C8B-B14F-4D97-AF65-F5344CB8AC3E}">
        <p14:creationId xmlns:p14="http://schemas.microsoft.com/office/powerpoint/2010/main" val="2991176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101465"/>
            <a:ext cx="3533963" cy="2068135"/>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latin typeface="+mj-lt"/>
              </a:rPr>
              <a:t>The Team Data Science </a:t>
            </a:r>
            <a:r>
              <a:rPr lang="en-US" sz="4399" dirty="0">
                <a:solidFill>
                  <a:srgbClr val="00B050"/>
                </a:solidFill>
                <a:latin typeface="+mj-lt"/>
              </a:rPr>
              <a:t>Process</a:t>
            </a:r>
            <a:r>
              <a:rPr lang="en-US" sz="4399" dirty="0">
                <a:solidFill>
                  <a:schemeClr val="tx1">
                    <a:lumMod val="75000"/>
                  </a:schemeClr>
                </a:solidFill>
                <a:latin typeface="+mj-lt"/>
              </a:rPr>
              <a:t> </a:t>
            </a:r>
          </a:p>
        </p:txBody>
      </p:sp>
      <p:graphicFrame>
        <p:nvGraphicFramePr>
          <p:cNvPr id="3" name="Diagram 2"/>
          <p:cNvGraphicFramePr/>
          <p:nvPr>
            <p:extLst/>
          </p:nvPr>
        </p:nvGraphicFramePr>
        <p:xfrm>
          <a:off x="3900860" y="218011"/>
          <a:ext cx="8029573" cy="6540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59804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3" y="30223"/>
            <a:ext cx="4289544" cy="2510690"/>
          </a:xfrm>
        </p:spPr>
        <p:txBody>
          <a:bodyPr vert="horz" wrap="square" lIns="146283" tIns="91428" rIns="146283" bIns="91428" numCol="1" rtlCol="0" anchor="t" anchorCtr="0" compatLnSpc="1">
            <a:prstTxWarp prst="textNoShape">
              <a:avLst/>
            </a:prstTxWarp>
            <a:noAutofit/>
          </a:bodyPr>
          <a:lstStyle/>
          <a:p>
            <a:pPr algn="l"/>
            <a:r>
              <a:rPr lang="en-US" sz="4399" dirty="0">
                <a:solidFill>
                  <a:schemeClr val="tx1">
                    <a:lumMod val="75000"/>
                  </a:schemeClr>
                </a:solidFill>
              </a:rPr>
              <a:t>The Cortana Intelligence </a:t>
            </a:r>
            <a:r>
              <a:rPr lang="en-US" sz="4399" dirty="0">
                <a:solidFill>
                  <a:srgbClr val="00B050"/>
                </a:solidFill>
              </a:rPr>
              <a:t>Platform</a:t>
            </a:r>
          </a:p>
        </p:txBody>
      </p:sp>
      <p:graphicFrame>
        <p:nvGraphicFramePr>
          <p:cNvPr id="36" name="Diagram 35"/>
          <p:cNvGraphicFramePr/>
          <p:nvPr>
            <p:extLst/>
          </p:nvPr>
        </p:nvGraphicFramePr>
        <p:xfrm>
          <a:off x="3866311" y="121118"/>
          <a:ext cx="8100961" cy="6697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4791794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down)">
                                      <p:cBhvr>
                                        <p:cTn id="7"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6"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1: </a:t>
            </a:r>
            <a:br>
              <a:rPr lang="en-US" dirty="0"/>
            </a:br>
            <a:r>
              <a:rPr lang="en-US" sz="4400" dirty="0"/>
              <a:t>Measuring Effectiveness and Efficiency in ML</a:t>
            </a:r>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11467235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69963" y="1188930"/>
            <a:ext cx="7600470" cy="590931"/>
          </a:xfrm>
          <a:prstGeom prst="rect">
            <a:avLst/>
          </a:prstGeom>
        </p:spPr>
        <p:txBody>
          <a:bodyPr wrap="square">
            <a:spAutoFit/>
          </a:bodyPr>
          <a:lstStyle/>
          <a:p>
            <a:pPr marL="0" marR="0" lvl="0" indent="0" defTabSz="913710" eaLnBrk="1" fontAlgn="auto" latinLnBrk="0" hangingPunct="1">
              <a:lnSpc>
                <a:spcPct val="90000"/>
              </a:lnSpc>
              <a:spcBef>
                <a:spcPts val="1198"/>
              </a:spcBef>
              <a:spcAft>
                <a:spcPts val="0"/>
              </a:spcAft>
              <a:buClrTx/>
              <a:buSzTx/>
              <a:buFontTx/>
              <a:buNone/>
              <a:tabLst/>
              <a:defRPr/>
            </a:pPr>
            <a:r>
              <a:rPr kumimoji="0" lang="en-US" sz="3600" b="0" i="0" u="none" strike="noStrike" kern="0" cap="none" spc="0" normalizeH="0" baseline="0" noProof="0" dirty="0">
                <a:ln>
                  <a:noFill/>
                </a:ln>
                <a:solidFill>
                  <a:srgbClr val="00BCF2"/>
                </a:solidFill>
                <a:effectLst/>
                <a:uLnTx/>
                <a:uFillTx/>
                <a:latin typeface="Segoe UI Semilight" panose="020B0402040204020203" pitchFamily="34" charset="0"/>
                <a:ea typeface="Segoe UI" pitchFamily="34" charset="0"/>
                <a:cs typeface="Segoe UI Semilight" panose="020B0402040204020203" pitchFamily="34" charset="0"/>
              </a:rPr>
              <a:t>Score</a:t>
            </a:r>
          </a:p>
        </p:txBody>
      </p:sp>
      <p:sp>
        <p:nvSpPr>
          <p:cNvPr id="6" name="Title 1"/>
          <p:cNvSpPr txBox="1">
            <a:spLocks/>
          </p:cNvSpPr>
          <p:nvPr/>
        </p:nvSpPr>
        <p:spPr>
          <a:xfrm>
            <a:off x="276324" y="295731"/>
            <a:ext cx="11886192" cy="762689"/>
          </a:xfrm>
          <a:prstGeom prst="rect">
            <a:avLst/>
          </a:prstGeom>
        </p:spPr>
        <p:txBody>
          <a:bodyPr vert="horz" wrap="square" lIns="149217" tIns="93260" rIns="149217" bIns="93260" rtlCol="0" anchor="t">
            <a:noAutofit/>
          </a:bodyPr>
          <a:lst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5302" b="0" i="0" u="none" strike="noStrike" kern="1200" cap="none" spc="-100" normalizeH="0" baseline="0" noProof="0">
                <a:ln w="3175">
                  <a:noFill/>
                </a:ln>
                <a:solidFill>
                  <a:srgbClr val="00BCF2"/>
                </a:solidFill>
                <a:effectLst/>
                <a:uLnTx/>
                <a:uFillTx/>
                <a:latin typeface="+mj-lt"/>
                <a:ea typeface="+mn-ea"/>
                <a:cs typeface="Segoe UI" pitchFamily="34" charset="0"/>
              </a:rPr>
              <a:t>Azure Machine Learning</a:t>
            </a:r>
          </a:p>
        </p:txBody>
      </p:sp>
      <p:sp>
        <p:nvSpPr>
          <p:cNvPr id="3" name="Rectangle 2"/>
          <p:cNvSpPr/>
          <p:nvPr/>
        </p:nvSpPr>
        <p:spPr>
          <a:xfrm>
            <a:off x="369963" y="1906061"/>
            <a:ext cx="6216650" cy="4647426"/>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CF2"/>
                </a:solidFill>
                <a:effectLst/>
                <a:uLnTx/>
                <a:uFillTx/>
              </a:rPr>
              <a:t>Apply a trained model to: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BCF2"/>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 list of recommended item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Forecasts for time series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Estimates of projected demand, volume, or other numeric quantity, for regress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Cluster assignment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 predicted class or outcome, for classificat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Probability scores associated with these outputs</a:t>
            </a:r>
          </a:p>
        </p:txBody>
      </p:sp>
      <p:pic>
        <p:nvPicPr>
          <p:cNvPr id="7" name="Picture 6"/>
          <p:cNvPicPr>
            <a:picLocks noChangeAspect="1"/>
          </p:cNvPicPr>
          <p:nvPr/>
        </p:nvPicPr>
        <p:blipFill>
          <a:blip r:embed="rId3"/>
          <a:stretch>
            <a:fillRect/>
          </a:stretch>
        </p:blipFill>
        <p:spPr>
          <a:xfrm>
            <a:off x="6586613" y="1779861"/>
            <a:ext cx="5029200" cy="35718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374661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69963" y="1058420"/>
            <a:ext cx="7600470" cy="535531"/>
          </a:xfrm>
          <a:prstGeom prst="rect">
            <a:avLst/>
          </a:prstGeom>
        </p:spPr>
        <p:txBody>
          <a:bodyPr wrap="square">
            <a:spAutoFit/>
          </a:bodyPr>
          <a:lstStyle/>
          <a:p>
            <a:pPr marL="0" marR="0" lvl="0" indent="0" defTabSz="913710" eaLnBrk="1" fontAlgn="auto" latinLnBrk="0" hangingPunct="1">
              <a:lnSpc>
                <a:spcPct val="90000"/>
              </a:lnSpc>
              <a:spcBef>
                <a:spcPts val="1198"/>
              </a:spcBef>
              <a:spcAft>
                <a:spcPts val="0"/>
              </a:spcAft>
              <a:buClrTx/>
              <a:buSzTx/>
              <a:buFontTx/>
              <a:buNone/>
              <a:tabLst/>
              <a:defRPr/>
            </a:pPr>
            <a:r>
              <a:rPr kumimoji="0" lang="en-US" sz="3200" b="0" i="0" u="none" strike="noStrike" kern="0" cap="none" spc="0" normalizeH="0" baseline="0" noProof="0" dirty="0">
                <a:ln>
                  <a:noFill/>
                </a:ln>
                <a:solidFill>
                  <a:srgbClr val="00BCF2"/>
                </a:solidFill>
                <a:effectLst/>
                <a:uLnTx/>
                <a:uFillTx/>
                <a:latin typeface="Segoe UI Semilight" panose="020B0402040204020203" pitchFamily="34" charset="0"/>
                <a:ea typeface="Segoe UI" pitchFamily="34" charset="0"/>
                <a:cs typeface="Segoe UI Semilight" panose="020B0402040204020203" pitchFamily="34" charset="0"/>
              </a:rPr>
              <a:t>Evaluate</a:t>
            </a:r>
          </a:p>
        </p:txBody>
      </p:sp>
      <p:sp>
        <p:nvSpPr>
          <p:cNvPr id="6" name="Title 1"/>
          <p:cNvSpPr txBox="1">
            <a:spLocks/>
          </p:cNvSpPr>
          <p:nvPr/>
        </p:nvSpPr>
        <p:spPr>
          <a:xfrm>
            <a:off x="276324" y="295731"/>
            <a:ext cx="11886192" cy="762689"/>
          </a:xfrm>
          <a:prstGeom prst="rect">
            <a:avLst/>
          </a:prstGeom>
        </p:spPr>
        <p:txBody>
          <a:bodyPr vert="horz" wrap="square" lIns="149217" tIns="93260" rIns="149217" bIns="93260" rtlCol="0" anchor="t">
            <a:noAutofit/>
          </a:bodyPr>
          <a:lst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5302" b="0" i="0" u="none" strike="noStrike" kern="1200" cap="none" spc="-100" normalizeH="0" baseline="0" noProof="0" dirty="0">
                <a:ln w="3175">
                  <a:noFill/>
                </a:ln>
                <a:solidFill>
                  <a:srgbClr val="00BCF2"/>
                </a:solidFill>
                <a:effectLst/>
                <a:uLnTx/>
                <a:uFillTx/>
                <a:latin typeface="+mj-lt"/>
                <a:ea typeface="+mn-ea"/>
                <a:cs typeface="Segoe UI" pitchFamily="34" charset="0"/>
              </a:rPr>
              <a:t>Azure Machine Learning</a:t>
            </a:r>
          </a:p>
        </p:txBody>
      </p:sp>
      <p:sp>
        <p:nvSpPr>
          <p:cNvPr id="2" name="Rectangle 1"/>
          <p:cNvSpPr/>
          <p:nvPr/>
        </p:nvSpPr>
        <p:spPr>
          <a:xfrm>
            <a:off x="369963" y="1593951"/>
            <a:ext cx="6047462" cy="42780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CF2"/>
                </a:solidFill>
                <a:effectLst/>
                <a:uLnTx/>
                <a:uFillTx/>
              </a:rPr>
              <a:t>Metrics for Classificat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ccuracy,</a:t>
            </a:r>
            <a:r>
              <a:rPr kumimoji="0" lang="en-US" sz="2400" b="0" i="0" u="none" strike="noStrike" kern="0" cap="none" spc="0" normalizeH="0" noProof="0" dirty="0">
                <a:ln>
                  <a:noFill/>
                </a:ln>
                <a:solidFill>
                  <a:srgbClr val="00BCF2"/>
                </a:solidFill>
                <a:effectLst/>
                <a:uLnTx/>
                <a:uFillTx/>
              </a:rPr>
              <a:t> </a:t>
            </a:r>
            <a:r>
              <a:rPr kumimoji="0" lang="en-US" sz="2400" b="0" i="0" u="none" strike="noStrike" kern="0" cap="none" spc="0" normalizeH="0" baseline="0" noProof="0" dirty="0">
                <a:ln>
                  <a:noFill/>
                </a:ln>
                <a:solidFill>
                  <a:srgbClr val="00BCF2"/>
                </a:solidFill>
                <a:effectLst/>
                <a:uLnTx/>
                <a:uFillTx/>
              </a:rPr>
              <a:t>Recall</a:t>
            </a:r>
            <a:r>
              <a:rPr lang="en-US" sz="2400" kern="0" dirty="0">
                <a:solidFill>
                  <a:srgbClr val="00BCF2"/>
                </a:solidFill>
              </a:rPr>
              <a:t>, </a:t>
            </a:r>
            <a:r>
              <a:rPr kumimoji="0" lang="en-US" sz="2400" b="0" i="0" u="none" strike="noStrike" kern="0" cap="none" spc="0" normalizeH="0" baseline="0" noProof="0" dirty="0">
                <a:ln>
                  <a:noFill/>
                </a:ln>
                <a:solidFill>
                  <a:srgbClr val="00BCF2"/>
                </a:solidFill>
                <a:effectLst/>
                <a:uLnTx/>
                <a:uFillTx/>
              </a:rPr>
              <a:t>Precision</a:t>
            </a:r>
            <a:r>
              <a:rPr lang="en-US" sz="2400" kern="0" dirty="0">
                <a:solidFill>
                  <a:srgbClr val="00BCF2"/>
                </a:solidFill>
              </a:rPr>
              <a:t>, </a:t>
            </a:r>
            <a:r>
              <a:rPr kumimoji="0" lang="en-US" sz="2400" b="0" i="0" u="none" strike="noStrike" kern="0" cap="none" spc="0" normalizeH="0" baseline="0" noProof="0" dirty="0">
                <a:ln>
                  <a:noFill/>
                </a:ln>
                <a:solidFill>
                  <a:srgbClr val="00BCF2"/>
                </a:solidFill>
                <a:effectLst/>
                <a:uLnTx/>
                <a:uFillTx/>
              </a:rPr>
              <a:t>F1-Scor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UC</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Average Log Los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Training Log Los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BCF2"/>
                </a:solidFill>
                <a:effectLst/>
                <a:uLnTx/>
                <a:uFillTx/>
              </a:rPr>
              <a:t>Metrics for Regression Models</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Mean absolute error (MA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Root mean squared error (RMS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Relative absolute error (RA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Relative squared error (RSE)</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BCF2"/>
                </a:solidFill>
                <a:effectLst/>
                <a:uLnTx/>
                <a:uFillTx/>
              </a:rPr>
              <a:t>Coefficient of determination</a:t>
            </a:r>
          </a:p>
        </p:txBody>
      </p:sp>
      <p:pic>
        <p:nvPicPr>
          <p:cNvPr id="3" name="Picture 2"/>
          <p:cNvPicPr>
            <a:picLocks noChangeAspect="1"/>
          </p:cNvPicPr>
          <p:nvPr/>
        </p:nvPicPr>
        <p:blipFill>
          <a:blip r:embed="rId3"/>
          <a:stretch>
            <a:fillRect/>
          </a:stretch>
        </p:blipFill>
        <p:spPr>
          <a:xfrm>
            <a:off x="6553834" y="2839084"/>
            <a:ext cx="5038725" cy="23526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6410317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12611" y="2074137"/>
            <a:ext cx="7211251" cy="2846250"/>
          </a:xfrm>
          <a:prstGeom prst="rect">
            <a:avLst/>
          </a:prstGeom>
        </p:spPr>
      </p:pic>
      <p:sp>
        <p:nvSpPr>
          <p:cNvPr id="5" name="Title 4"/>
          <p:cNvSpPr>
            <a:spLocks noGrp="1"/>
          </p:cNvSpPr>
          <p:nvPr>
            <p:ph type="title"/>
          </p:nvPr>
        </p:nvSpPr>
        <p:spPr>
          <a:xfrm>
            <a:off x="274639" y="295274"/>
            <a:ext cx="11889564" cy="1623837"/>
          </a:xfrm>
        </p:spPr>
        <p:txBody>
          <a:bodyPr/>
          <a:lstStyle/>
          <a:p>
            <a:r>
              <a:rPr lang="en-US" dirty="0"/>
              <a:t>Module 2: </a:t>
            </a:r>
            <a:br>
              <a:rPr lang="en-US" dirty="0"/>
            </a:br>
            <a:r>
              <a:rPr lang="en-US" sz="4400" dirty="0"/>
              <a:t>Accessing result data from Azure Storage</a:t>
            </a:r>
            <a:endParaRPr lang="en-US" dirty="0"/>
          </a:p>
        </p:txBody>
      </p:sp>
      <p:sp>
        <p:nvSpPr>
          <p:cNvPr id="3" name="Slide Number Placeholder 2"/>
          <p:cNvSpPr>
            <a:spLocks noGrp="1"/>
          </p:cNvSpPr>
          <p:nvPr>
            <p:ph type="sldNum" sz="quarter" idx="4294967295"/>
          </p:nvPr>
        </p:nvSpPr>
        <p:spPr>
          <a:xfrm>
            <a:off x="11522075" y="6316663"/>
            <a:ext cx="914400" cy="379412"/>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74C60E-8F8C-41D8-9BFF-6DF338C2FC78}" type="slidenum">
              <a:rPr kumimoji="0" lang="en-US" sz="1800" b="0" i="0" u="none" strike="noStrike" kern="0" cap="none" spc="0" normalizeH="0" baseline="0" noProof="0" smtClean="0">
                <a:ln>
                  <a:noFill/>
                </a:ln>
                <a:solidFill>
                  <a:srgbClr val="505050">
                    <a:tint val="75000"/>
                  </a:srgbClr>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rgbClr val="505050">
                  <a:tint val="75000"/>
                </a:srgbClr>
              </a:solidFill>
              <a:effectLst/>
              <a:uLnTx/>
              <a:uFillTx/>
            </a:endParaRPr>
          </a:p>
        </p:txBody>
      </p:sp>
      <p:pic>
        <p:nvPicPr>
          <p:cNvPr id="7" name="Picture 6"/>
          <p:cNvPicPr>
            <a:picLocks noChangeAspect="1"/>
          </p:cNvPicPr>
          <p:nvPr/>
        </p:nvPicPr>
        <p:blipFill>
          <a:blip r:embed="rId4"/>
          <a:stretch>
            <a:fillRect/>
          </a:stretch>
        </p:blipFill>
        <p:spPr>
          <a:xfrm>
            <a:off x="1570037" y="5173662"/>
            <a:ext cx="2621250" cy="1068750"/>
          </a:xfrm>
          <a:prstGeom prst="rect">
            <a:avLst/>
          </a:prstGeom>
        </p:spPr>
      </p:pic>
    </p:spTree>
    <p:extLst>
      <p:ext uri="{BB962C8B-B14F-4D97-AF65-F5344CB8AC3E}">
        <p14:creationId xmlns:p14="http://schemas.microsoft.com/office/powerpoint/2010/main" val="35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1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3.xml><?xml version="1.0" encoding="utf-8"?>
<a:theme xmlns:a="http://schemas.openxmlformats.org/drawingml/2006/main" name="2_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4.xml><?xml version="1.0" encoding="utf-8"?>
<a:theme xmlns:a="http://schemas.openxmlformats.org/drawingml/2006/main" name="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QLintersec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79205F35F1AF40BCD07C4F58D4AC80" ma:contentTypeVersion="6" ma:contentTypeDescription="Create a new document." ma:contentTypeScope="" ma:versionID="928b465a6c3029e92fc4756b1ec87666">
  <xsd:schema xmlns:xsd="http://www.w3.org/2001/XMLSchema" xmlns:xs="http://www.w3.org/2001/XMLSchema" xmlns:p="http://schemas.microsoft.com/office/2006/metadata/properties" xmlns:ns1="http://schemas.microsoft.com/sharepoint/v3" xmlns:ns2="9bc6b55d-a734-43bd-8eab-fb065c703cf5" targetNamespace="http://schemas.microsoft.com/office/2006/metadata/properties" ma:root="true" ma:fieldsID="0d30a3c16de9f4b741f5fd3773089e2c" ns1:_="" ns2:_="">
    <xsd:import namespace="http://schemas.microsoft.com/sharepoint/v3"/>
    <xsd:import namespace="9bc6b55d-a734-43bd-8eab-fb065c703cf5"/>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c6b55d-a734-43bd-8eab-fb065c703c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70E1396-E5CF-4789-9F57-9E2F1AF6DA09}">
  <ds:schemaRefs>
    <ds:schemaRef ds:uri="http://schemas.microsoft.com/sharepoint/v3/contenttype/forms"/>
  </ds:schemaRefs>
</ds:datastoreItem>
</file>

<file path=customXml/itemProps2.xml><?xml version="1.0" encoding="utf-8"?>
<ds:datastoreItem xmlns:ds="http://schemas.openxmlformats.org/officeDocument/2006/customXml" ds:itemID="{4E5964A5-6A73-4B5C-A255-3DE4A6DA9C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bc6b55d-a734-43bd-8eab-fb065c703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E91857C-C86E-46C7-B76B-08EA2167A5BC}">
  <ds:schemaRefs>
    <ds:schemaRef ds:uri="http://purl.org/dc/terms/"/>
    <ds:schemaRef ds:uri="http://schemas.openxmlformats.org/package/2006/metadata/core-properties"/>
    <ds:schemaRef ds:uri="9bc6b55d-a734-43bd-8eab-fb065c703cf5"/>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tana%20Analytics_v1</Template>
  <TotalTime>0</TotalTime>
  <Words>912</Words>
  <Application>Microsoft Office PowerPoint</Application>
  <PresentationFormat>Custom</PresentationFormat>
  <Paragraphs>165</Paragraphs>
  <Slides>14</Slides>
  <Notes>14</Notes>
  <HiddenSlides>0</HiddenSlides>
  <MMClips>0</MMClips>
  <ScaleCrop>false</ScaleCrop>
  <HeadingPairs>
    <vt:vector size="8" baseType="variant">
      <vt:variant>
        <vt:lpstr>Fonts Used</vt:lpstr>
      </vt:variant>
      <vt:variant>
        <vt:i4>13</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34" baseType="lpstr">
      <vt:lpstr>SimSun</vt:lpstr>
      <vt:lpstr>Arial</vt:lpstr>
      <vt:lpstr>Calibri</vt:lpstr>
      <vt:lpstr>Calibri Light</vt:lpstr>
      <vt:lpstr>Cambria</vt:lpstr>
      <vt:lpstr>Courier New</vt:lpstr>
      <vt:lpstr>Myriad Pro</vt:lpstr>
      <vt:lpstr>Segoe UI</vt:lpstr>
      <vt:lpstr>Segoe UI Light</vt:lpstr>
      <vt:lpstr>Segoe UI Semilight</vt:lpstr>
      <vt:lpstr>Times New Roman</vt:lpstr>
      <vt:lpstr>Verdana</vt:lpstr>
      <vt:lpstr>Wingdings</vt:lpstr>
      <vt:lpstr>COLOR TEMPLATE</vt:lpstr>
      <vt:lpstr>1_WHITE TEMPLATE</vt:lpstr>
      <vt:lpstr>2_WHITE TEMPLATE</vt:lpstr>
      <vt:lpstr>FY15 Enterprise identity theme</vt:lpstr>
      <vt:lpstr>Office Theme</vt:lpstr>
      <vt:lpstr>1_SQLintersection</vt:lpstr>
      <vt:lpstr>think-cell Slide</vt:lpstr>
      <vt:lpstr>PowerPoint Presentation</vt:lpstr>
      <vt:lpstr>PowerPoint Presentation</vt:lpstr>
      <vt:lpstr>The Data Science Process and Platform</vt:lpstr>
      <vt:lpstr>The Team Data Science Process </vt:lpstr>
      <vt:lpstr>The Cortana Intelligence Platform</vt:lpstr>
      <vt:lpstr>Module 1:  Measuring Effectiveness and Efficiency in ML</vt:lpstr>
      <vt:lpstr>PowerPoint Presentation</vt:lpstr>
      <vt:lpstr>PowerPoint Presentation</vt:lpstr>
      <vt:lpstr>Module 2:  Accessing result data from Azure Storage</vt:lpstr>
      <vt:lpstr>Options for Data Access</vt:lpstr>
      <vt:lpstr>Lab:</vt:lpstr>
      <vt:lpstr>Module 3:  Accessing Data from API-based Sources</vt:lpstr>
      <vt:lpstr>Options for Data Sourcing</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6-29T18:33:22Z</dcterms:created>
  <dcterms:modified xsi:type="dcterms:W3CDTF">2017-02-14T13:0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79205F35F1AF40BCD07C4F58D4AC80</vt:lpwstr>
  </property>
</Properties>
</file>